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ink/ink1.xml" ContentType="application/inkml+xml"/>
  <Override PartName="/ppt/ink/ink2.xml" ContentType="application/inkml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5"/>
  </p:notesMasterIdLst>
  <p:sldIdLst>
    <p:sldId id="256" r:id="rId5"/>
    <p:sldId id="257" r:id="rId6"/>
    <p:sldId id="269" r:id="rId7"/>
    <p:sldId id="270" r:id="rId8"/>
    <p:sldId id="271" r:id="rId9"/>
    <p:sldId id="272" r:id="rId10"/>
    <p:sldId id="279" r:id="rId11"/>
    <p:sldId id="275" r:id="rId12"/>
    <p:sldId id="276" r:id="rId13"/>
    <p:sldId id="277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  <a:srgbClr val="00B050"/>
    <a:srgbClr val="F6D935"/>
    <a:srgbClr val="4472C4"/>
    <a:srgbClr val="B72F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9602EA-4E08-1312-4CA7-8FABE76C5940}" v="4" dt="2021-08-02T02:18:56.718"/>
    <p1510:client id="{FC9ED260-ED45-4383-A6C6-F9ABC477379E}" v="132" vWet="134" dt="2021-08-02T02:18:57.1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shant Karmakar" userId="S::20sk95@queensu.ca::9fb19323-084a-4aea-8034-88a68d3f2533" providerId="AD" clId="Web-{E014EE95-035A-BF47-5225-FABE02E21719}"/>
    <pc:docChg chg="delSld modSld">
      <pc:chgData name="Sushant Karmakar" userId="S::20sk95@queensu.ca::9fb19323-084a-4aea-8034-88a68d3f2533" providerId="AD" clId="Web-{E014EE95-035A-BF47-5225-FABE02E21719}" dt="2021-07-25T20:44:04.297" v="229" actId="1076"/>
      <pc:docMkLst>
        <pc:docMk/>
      </pc:docMkLst>
      <pc:sldChg chg="del">
        <pc:chgData name="Sushant Karmakar" userId="S::20sk95@queensu.ca::9fb19323-084a-4aea-8034-88a68d3f2533" providerId="AD" clId="Web-{E014EE95-035A-BF47-5225-FABE02E21719}" dt="2021-07-25T20:41:08.012" v="225"/>
        <pc:sldMkLst>
          <pc:docMk/>
          <pc:sldMk cId="3297654295" sldId="274"/>
        </pc:sldMkLst>
      </pc:sldChg>
      <pc:sldChg chg="addSp modSp">
        <pc:chgData name="Sushant Karmakar" userId="S::20sk95@queensu.ca::9fb19323-084a-4aea-8034-88a68d3f2533" providerId="AD" clId="Web-{E014EE95-035A-BF47-5225-FABE02E21719}" dt="2021-07-25T20:44:04.297" v="229" actId="1076"/>
        <pc:sldMkLst>
          <pc:docMk/>
          <pc:sldMk cId="3399673558" sldId="279"/>
        </pc:sldMkLst>
        <pc:spChg chg="add mod">
          <ac:chgData name="Sushant Karmakar" userId="S::20sk95@queensu.ca::9fb19323-084a-4aea-8034-88a68d3f2533" providerId="AD" clId="Web-{E014EE95-035A-BF47-5225-FABE02E21719}" dt="2021-07-25T20:31:14.256" v="28" actId="1076"/>
          <ac:spMkLst>
            <pc:docMk/>
            <pc:sldMk cId="3399673558" sldId="279"/>
            <ac:spMk id="3" creationId="{E2A0B6F1-E5AC-4AFA-9E5F-7D8381FCE6F9}"/>
          </ac:spMkLst>
        </pc:spChg>
        <pc:spChg chg="mod">
          <ac:chgData name="Sushant Karmakar" userId="S::20sk95@queensu.ca::9fb19323-084a-4aea-8034-88a68d3f2533" providerId="AD" clId="Web-{E014EE95-035A-BF47-5225-FABE02E21719}" dt="2021-07-25T20:43:41.812" v="227" actId="1076"/>
          <ac:spMkLst>
            <pc:docMk/>
            <pc:sldMk cId="3399673558" sldId="279"/>
            <ac:spMk id="5" creationId="{B7B54DA1-D418-4079-BE44-9B92EF8A6D52}"/>
          </ac:spMkLst>
        </pc:spChg>
        <pc:spChg chg="mod">
          <ac:chgData name="Sushant Karmakar" userId="S::20sk95@queensu.ca::9fb19323-084a-4aea-8034-88a68d3f2533" providerId="AD" clId="Web-{E014EE95-035A-BF47-5225-FABE02E21719}" dt="2021-07-25T20:44:04.297" v="229" actId="1076"/>
          <ac:spMkLst>
            <pc:docMk/>
            <pc:sldMk cId="3399673558" sldId="279"/>
            <ac:spMk id="7" creationId="{1F18C05F-199A-4C12-A908-689CE9F375F7}"/>
          </ac:spMkLst>
        </pc:spChg>
        <pc:spChg chg="add mod">
          <ac:chgData name="Sushant Karmakar" userId="S::20sk95@queensu.ca::9fb19323-084a-4aea-8034-88a68d3f2533" providerId="AD" clId="Web-{E014EE95-035A-BF47-5225-FABE02E21719}" dt="2021-07-25T20:31:33.146" v="32" actId="20577"/>
          <ac:spMkLst>
            <pc:docMk/>
            <pc:sldMk cId="3399673558" sldId="279"/>
            <ac:spMk id="15" creationId="{3AED1517-10DF-42E9-929F-8D868B7EF59C}"/>
          </ac:spMkLst>
        </pc:spChg>
        <pc:spChg chg="add mod">
          <ac:chgData name="Sushant Karmakar" userId="S::20sk95@queensu.ca::9fb19323-084a-4aea-8034-88a68d3f2533" providerId="AD" clId="Web-{E014EE95-035A-BF47-5225-FABE02E21719}" dt="2021-07-25T20:31:45.725" v="36" actId="20577"/>
          <ac:spMkLst>
            <pc:docMk/>
            <pc:sldMk cId="3399673558" sldId="279"/>
            <ac:spMk id="16" creationId="{DFFD22EF-0083-4A00-B4B7-C95733F32793}"/>
          </ac:spMkLst>
        </pc:spChg>
        <pc:graphicFrameChg chg="mod modGraphic">
          <ac:chgData name="Sushant Karmakar" userId="S::20sk95@queensu.ca::9fb19323-084a-4aea-8034-88a68d3f2533" providerId="AD" clId="Web-{E014EE95-035A-BF47-5225-FABE02E21719}" dt="2021-07-25T20:40:25.106" v="224"/>
          <ac:graphicFrameMkLst>
            <pc:docMk/>
            <pc:sldMk cId="3399673558" sldId="279"/>
            <ac:graphicFrameMk id="8" creationId="{0734696D-36F7-4570-9490-AA529D38E347}"/>
          </ac:graphicFrameMkLst>
        </pc:graphicFrameChg>
        <pc:picChg chg="mod">
          <ac:chgData name="Sushant Karmakar" userId="S::20sk95@queensu.ca::9fb19323-084a-4aea-8034-88a68d3f2533" providerId="AD" clId="Web-{E014EE95-035A-BF47-5225-FABE02E21719}" dt="2021-07-25T20:31:05.240" v="24" actId="1076"/>
          <ac:picMkLst>
            <pc:docMk/>
            <pc:sldMk cId="3399673558" sldId="279"/>
            <ac:picMk id="29" creationId="{0AEB9B8C-6098-4BE1-BC2B-0D0871B16BB6}"/>
          </ac:picMkLst>
        </pc:picChg>
        <pc:picChg chg="mod">
          <ac:chgData name="Sushant Karmakar" userId="S::20sk95@queensu.ca::9fb19323-084a-4aea-8034-88a68d3f2533" providerId="AD" clId="Web-{E014EE95-035A-BF47-5225-FABE02E21719}" dt="2021-07-25T20:31:28.974" v="31" actId="1076"/>
          <ac:picMkLst>
            <pc:docMk/>
            <pc:sldMk cId="3399673558" sldId="279"/>
            <ac:picMk id="30" creationId="{3D5CCBDF-6935-4A41-96CE-6F01C69D4F0F}"/>
          </ac:picMkLst>
        </pc:picChg>
        <pc:picChg chg="mod">
          <ac:chgData name="Sushant Karmakar" userId="S::20sk95@queensu.ca::9fb19323-084a-4aea-8034-88a68d3f2533" providerId="AD" clId="Web-{E014EE95-035A-BF47-5225-FABE02E21719}" dt="2021-07-25T20:31:00.099" v="23" actId="1076"/>
          <ac:picMkLst>
            <pc:docMk/>
            <pc:sldMk cId="3399673558" sldId="279"/>
            <ac:picMk id="31" creationId="{4696C4D8-E177-4872-A2D6-C05F0D20FE22}"/>
          </ac:picMkLst>
        </pc:picChg>
      </pc:sldChg>
    </pc:docChg>
  </pc:docChgLst>
  <pc:docChgLst>
    <pc:chgData name="Sushant" userId="9fb19323-084a-4aea-8034-88a68d3f2533" providerId="ADAL" clId="{FC9ED260-ED45-4383-A6C6-F9ABC477379E}"/>
    <pc:docChg chg="undo custSel addSld delSld modSld sldOrd modMainMaster">
      <pc:chgData name="Sushant" userId="9fb19323-084a-4aea-8034-88a68d3f2533" providerId="ADAL" clId="{FC9ED260-ED45-4383-A6C6-F9ABC477379E}" dt="2021-07-25T20:47:43.763" v="9968" actId="2085"/>
      <pc:docMkLst>
        <pc:docMk/>
      </pc:docMkLst>
      <pc:sldChg chg="modSp">
        <pc:chgData name="Sushant" userId="9fb19323-084a-4aea-8034-88a68d3f2533" providerId="ADAL" clId="{FC9ED260-ED45-4383-A6C6-F9ABC477379E}" dt="2021-07-24T05:35:41.289" v="8048" actId="20577"/>
        <pc:sldMkLst>
          <pc:docMk/>
          <pc:sldMk cId="3816649688" sldId="256"/>
        </pc:sldMkLst>
        <pc:spChg chg="mod">
          <ac:chgData name="Sushant" userId="9fb19323-084a-4aea-8034-88a68d3f2533" providerId="ADAL" clId="{FC9ED260-ED45-4383-A6C6-F9ABC477379E}" dt="2021-07-24T05:35:41.289" v="8048" actId="20577"/>
          <ac:spMkLst>
            <pc:docMk/>
            <pc:sldMk cId="3816649688" sldId="256"/>
            <ac:spMk id="3" creationId="{B3D2C084-7ABD-2045-BBE4-A367A2C1ACDC}"/>
          </ac:spMkLst>
        </pc:spChg>
      </pc:sldChg>
      <pc:sldChg chg="del">
        <pc:chgData name="Sushant" userId="9fb19323-084a-4aea-8034-88a68d3f2533" providerId="ADAL" clId="{FC9ED260-ED45-4383-A6C6-F9ABC477379E}" dt="2021-07-24T03:14:09.607" v="920" actId="2696"/>
        <pc:sldMkLst>
          <pc:docMk/>
          <pc:sldMk cId="1917483240" sldId="258"/>
        </pc:sldMkLst>
      </pc:sldChg>
      <pc:sldChg chg="del ord">
        <pc:chgData name="Sushant" userId="9fb19323-084a-4aea-8034-88a68d3f2533" providerId="ADAL" clId="{FC9ED260-ED45-4383-A6C6-F9ABC477379E}" dt="2021-07-24T04:46:55.005" v="4650" actId="2696"/>
        <pc:sldMkLst>
          <pc:docMk/>
          <pc:sldMk cId="3364531232" sldId="259"/>
        </pc:sldMkLst>
      </pc:sldChg>
      <pc:sldChg chg="del">
        <pc:chgData name="Sushant" userId="9fb19323-084a-4aea-8034-88a68d3f2533" providerId="ADAL" clId="{FC9ED260-ED45-4383-A6C6-F9ABC477379E}" dt="2021-07-24T05:33:44.242" v="7995" actId="2696"/>
        <pc:sldMkLst>
          <pc:docMk/>
          <pc:sldMk cId="4258302302" sldId="260"/>
        </pc:sldMkLst>
      </pc:sldChg>
      <pc:sldChg chg="addSp delSp modSp del">
        <pc:chgData name="Sushant" userId="9fb19323-084a-4aea-8034-88a68d3f2533" providerId="ADAL" clId="{FC9ED260-ED45-4383-A6C6-F9ABC477379E}" dt="2021-07-24T06:03:03.158" v="9281" actId="2696"/>
        <pc:sldMkLst>
          <pc:docMk/>
          <pc:sldMk cId="3842468896" sldId="261"/>
        </pc:sldMkLst>
        <pc:spChg chg="mod">
          <ac:chgData name="Sushant" userId="9fb19323-084a-4aea-8034-88a68d3f2533" providerId="ADAL" clId="{FC9ED260-ED45-4383-A6C6-F9ABC477379E}" dt="2021-07-24T05:40:50.801" v="8125" actId="948"/>
          <ac:spMkLst>
            <pc:docMk/>
            <pc:sldMk cId="3842468896" sldId="261"/>
            <ac:spMk id="2" creationId="{C919C182-DEDA-3A4B-9B25-38831693348E}"/>
          </ac:spMkLst>
        </pc:spChg>
        <pc:spChg chg="add del mod">
          <ac:chgData name="Sushant" userId="9fb19323-084a-4aea-8034-88a68d3f2533" providerId="ADAL" clId="{FC9ED260-ED45-4383-A6C6-F9ABC477379E}" dt="2021-07-24T05:40:33.746" v="8056" actId="478"/>
          <ac:spMkLst>
            <pc:docMk/>
            <pc:sldMk cId="3842468896" sldId="261"/>
            <ac:spMk id="4" creationId="{B5C99BF2-3487-4879-B05A-6C1F0399221A}"/>
          </ac:spMkLst>
        </pc:spChg>
        <pc:spChg chg="add del mod modVis">
          <ac:chgData name="Sushant" userId="9fb19323-084a-4aea-8034-88a68d3f2533" providerId="ADAL" clId="{FC9ED260-ED45-4383-A6C6-F9ABC477379E}" dt="2021-07-24T05:40:44.397" v="8121"/>
          <ac:spMkLst>
            <pc:docMk/>
            <pc:sldMk cId="3842468896" sldId="261"/>
            <ac:spMk id="6" creationId="{76408516-21DE-411A-9C59-AFD713259240}"/>
          </ac:spMkLst>
        </pc:spChg>
        <pc:spChg chg="add del mod modVis">
          <ac:chgData name="Sushant" userId="9fb19323-084a-4aea-8034-88a68d3f2533" providerId="ADAL" clId="{FC9ED260-ED45-4383-A6C6-F9ABC477379E}" dt="2021-07-24T05:40:50.838" v="8164"/>
          <ac:spMkLst>
            <pc:docMk/>
            <pc:sldMk cId="3842468896" sldId="261"/>
            <ac:spMk id="7" creationId="{584FB458-1802-4D0C-BA07-4D3B464F972F}"/>
          </ac:spMkLst>
        </pc:spChg>
        <pc:graphicFrameChg chg="add mod ord modVis">
          <ac:chgData name="Sushant" userId="9fb19323-084a-4aea-8034-88a68d3f2533" providerId="ADAL" clId="{FC9ED260-ED45-4383-A6C6-F9ABC477379E}" dt="2021-07-24T05:40:50.842" v="8166"/>
          <ac:graphicFrameMkLst>
            <pc:docMk/>
            <pc:sldMk cId="3842468896" sldId="261"/>
            <ac:graphicFrameMk id="5" creationId="{2A55FE9D-510D-4DF7-B016-381C02ACED0A}"/>
          </ac:graphicFrameMkLst>
        </pc:graphicFrameChg>
        <pc:graphicFrameChg chg="add del mod">
          <ac:chgData name="Sushant" userId="9fb19323-084a-4aea-8034-88a68d3f2533" providerId="ADAL" clId="{FC9ED260-ED45-4383-A6C6-F9ABC477379E}" dt="2021-07-24T05:47:17.186" v="9039" actId="478"/>
          <ac:graphicFrameMkLst>
            <pc:docMk/>
            <pc:sldMk cId="3842468896" sldId="261"/>
            <ac:graphicFrameMk id="8" creationId="{C362E745-979E-4FFD-B231-6129B1DB2B2B}"/>
          </ac:graphicFrameMkLst>
        </pc:graphicFrameChg>
      </pc:sldChg>
      <pc:sldChg chg="delSp del">
        <pc:chgData name="Sushant" userId="9fb19323-084a-4aea-8034-88a68d3f2533" providerId="ADAL" clId="{FC9ED260-ED45-4383-A6C6-F9ABC477379E}" dt="2021-07-24T03:29:07.743" v="2038" actId="2696"/>
        <pc:sldMkLst>
          <pc:docMk/>
          <pc:sldMk cId="2424053626" sldId="262"/>
        </pc:sldMkLst>
        <pc:picChg chg="del">
          <ac:chgData name="Sushant" userId="9fb19323-084a-4aea-8034-88a68d3f2533" providerId="ADAL" clId="{FC9ED260-ED45-4383-A6C6-F9ABC477379E}" dt="2021-07-24T03:19:58.816" v="1170"/>
          <ac:picMkLst>
            <pc:docMk/>
            <pc:sldMk cId="2424053626" sldId="262"/>
            <ac:picMk id="4" creationId="{8CCBA657-54C5-8842-8BD1-DF8E0097DFBA}"/>
          </ac:picMkLst>
        </pc:picChg>
        <pc:picChg chg="del">
          <ac:chgData name="Sushant" userId="9fb19323-084a-4aea-8034-88a68d3f2533" providerId="ADAL" clId="{FC9ED260-ED45-4383-A6C6-F9ABC477379E}" dt="2021-07-24T03:19:58.816" v="1170"/>
          <ac:picMkLst>
            <pc:docMk/>
            <pc:sldMk cId="2424053626" sldId="262"/>
            <ac:picMk id="5" creationId="{BA495E3D-FDE6-0C49-BE43-1859B6A6FCC7}"/>
          </ac:picMkLst>
        </pc:picChg>
      </pc:sldChg>
      <pc:sldChg chg="addSp modSp del">
        <pc:chgData name="Sushant" userId="9fb19323-084a-4aea-8034-88a68d3f2533" providerId="ADAL" clId="{FC9ED260-ED45-4383-A6C6-F9ABC477379E}" dt="2021-07-24T04:46:58.884" v="4651" actId="2696"/>
        <pc:sldMkLst>
          <pc:docMk/>
          <pc:sldMk cId="445504766" sldId="264"/>
        </pc:sldMkLst>
        <pc:picChg chg="add mod">
          <ac:chgData name="Sushant" userId="9fb19323-084a-4aea-8034-88a68d3f2533" providerId="ADAL" clId="{FC9ED260-ED45-4383-A6C6-F9ABC477379E}" dt="2021-07-24T04:06:43.595" v="3351" actId="1076"/>
          <ac:picMkLst>
            <pc:docMk/>
            <pc:sldMk cId="445504766" sldId="264"/>
            <ac:picMk id="4" creationId="{BBCD7C1F-1397-4D07-BB51-E0DE344115BB}"/>
          </ac:picMkLst>
        </pc:picChg>
        <pc:picChg chg="add mod">
          <ac:chgData name="Sushant" userId="9fb19323-084a-4aea-8034-88a68d3f2533" providerId="ADAL" clId="{FC9ED260-ED45-4383-A6C6-F9ABC477379E}" dt="2021-07-24T04:06:44.564" v="3352" actId="1076"/>
          <ac:picMkLst>
            <pc:docMk/>
            <pc:sldMk cId="445504766" sldId="264"/>
            <ac:picMk id="5" creationId="{0E8BBE17-133A-4048-AA6C-10FF3FF68D2C}"/>
          </ac:picMkLst>
        </pc:picChg>
      </pc:sldChg>
      <pc:sldChg chg="del modTransition">
        <pc:chgData name="Sushant" userId="9fb19323-084a-4aea-8034-88a68d3f2533" providerId="ADAL" clId="{FC9ED260-ED45-4383-A6C6-F9ABC477379E}" dt="2021-07-24T05:02:38.757" v="5122" actId="2696"/>
        <pc:sldMkLst>
          <pc:docMk/>
          <pc:sldMk cId="3626696024" sldId="265"/>
        </pc:sldMkLst>
      </pc:sldChg>
      <pc:sldChg chg="del">
        <pc:chgData name="Sushant" userId="9fb19323-084a-4aea-8034-88a68d3f2533" providerId="ADAL" clId="{FC9ED260-ED45-4383-A6C6-F9ABC477379E}" dt="2021-07-24T05:09:53.683" v="6101" actId="2696"/>
        <pc:sldMkLst>
          <pc:docMk/>
          <pc:sldMk cId="459674805" sldId="266"/>
        </pc:sldMkLst>
      </pc:sldChg>
      <pc:sldChg chg="addSp delSp modSp del">
        <pc:chgData name="Sushant" userId="9fb19323-084a-4aea-8034-88a68d3f2533" providerId="ADAL" clId="{FC9ED260-ED45-4383-A6C6-F9ABC477379E}" dt="2021-07-24T05:02:29.904" v="5121" actId="2696"/>
        <pc:sldMkLst>
          <pc:docMk/>
          <pc:sldMk cId="2262464194" sldId="267"/>
        </pc:sldMkLst>
        <pc:graphicFrameChg chg="add del mod modGraphic">
          <ac:chgData name="Sushant" userId="9fb19323-084a-4aea-8034-88a68d3f2533" providerId="ADAL" clId="{FC9ED260-ED45-4383-A6C6-F9ABC477379E}" dt="2021-07-24T04:57:05.611" v="5033"/>
          <ac:graphicFrameMkLst>
            <pc:docMk/>
            <pc:sldMk cId="2262464194" sldId="267"/>
            <ac:graphicFrameMk id="2" creationId="{A2A06D42-3F86-4BBD-BDFC-03D1CB413AD3}"/>
          </ac:graphicFrameMkLst>
        </pc:graphicFrameChg>
        <pc:picChg chg="del mod">
          <ac:chgData name="Sushant" userId="9fb19323-084a-4aea-8034-88a68d3f2533" providerId="ADAL" clId="{FC9ED260-ED45-4383-A6C6-F9ABC477379E}" dt="2021-07-24T04:57:05.611" v="5033"/>
          <ac:picMkLst>
            <pc:docMk/>
            <pc:sldMk cId="2262464194" sldId="267"/>
            <ac:picMk id="4" creationId="{81D74B78-AB42-1F48-8A13-F67BB3F2E665}"/>
          </ac:picMkLst>
        </pc:picChg>
        <pc:picChg chg="del">
          <ac:chgData name="Sushant" userId="9fb19323-084a-4aea-8034-88a68d3f2533" providerId="ADAL" clId="{FC9ED260-ED45-4383-A6C6-F9ABC477379E}" dt="2021-07-24T04:56:23.990" v="5023" actId="478"/>
          <ac:picMkLst>
            <pc:docMk/>
            <pc:sldMk cId="2262464194" sldId="267"/>
            <ac:picMk id="6" creationId="{D74461C9-D856-3E41-882E-ECF912BF4D97}"/>
          </ac:picMkLst>
        </pc:picChg>
        <pc:picChg chg="del">
          <ac:chgData name="Sushant" userId="9fb19323-084a-4aea-8034-88a68d3f2533" providerId="ADAL" clId="{FC9ED260-ED45-4383-A6C6-F9ABC477379E}" dt="2021-07-24T04:56:23.990" v="5023" actId="478"/>
          <ac:picMkLst>
            <pc:docMk/>
            <pc:sldMk cId="2262464194" sldId="267"/>
            <ac:picMk id="8" creationId="{FB13CB16-31B9-B74E-A797-B5EF41AE2E44}"/>
          </ac:picMkLst>
        </pc:picChg>
      </pc:sldChg>
      <pc:sldChg chg="addSp delSp modSp add del">
        <pc:chgData name="Sushant" userId="9fb19323-084a-4aea-8034-88a68d3f2533" providerId="ADAL" clId="{FC9ED260-ED45-4383-A6C6-F9ABC477379E}" dt="2021-07-24T03:08:59.965" v="833" actId="2696"/>
        <pc:sldMkLst>
          <pc:docMk/>
          <pc:sldMk cId="423327401" sldId="268"/>
        </pc:sldMkLst>
        <pc:spChg chg="del">
          <ac:chgData name="Sushant" userId="9fb19323-084a-4aea-8034-88a68d3f2533" providerId="ADAL" clId="{FC9ED260-ED45-4383-A6C6-F9ABC477379E}" dt="2021-07-24T02:54:03.472" v="1" actId="478"/>
          <ac:spMkLst>
            <pc:docMk/>
            <pc:sldMk cId="423327401" sldId="268"/>
            <ac:spMk id="2" creationId="{A5AE23DB-4B3C-40B0-BD36-50CA78646D6D}"/>
          </ac:spMkLst>
        </pc:spChg>
        <pc:spChg chg="del">
          <ac:chgData name="Sushant" userId="9fb19323-084a-4aea-8034-88a68d3f2533" providerId="ADAL" clId="{FC9ED260-ED45-4383-A6C6-F9ABC477379E}" dt="2021-07-24T02:54:03.472" v="1" actId="478"/>
          <ac:spMkLst>
            <pc:docMk/>
            <pc:sldMk cId="423327401" sldId="268"/>
            <ac:spMk id="3" creationId="{2A8AF521-D2E0-458B-909D-7FC9A8C436EE}"/>
          </ac:spMkLst>
        </pc:spChg>
        <pc:spChg chg="add del mod">
          <ac:chgData name="Sushant" userId="9fb19323-084a-4aea-8034-88a68d3f2533" providerId="ADAL" clId="{FC9ED260-ED45-4383-A6C6-F9ABC477379E}" dt="2021-07-24T03:08:45.222" v="774"/>
          <ac:spMkLst>
            <pc:docMk/>
            <pc:sldMk cId="423327401" sldId="268"/>
            <ac:spMk id="8" creationId="{6DB6E2C1-8419-48F7-861B-8C3E0A5CE633}"/>
          </ac:spMkLst>
        </pc:spChg>
        <pc:spChg chg="add del mod">
          <ac:chgData name="Sushant" userId="9fb19323-084a-4aea-8034-88a68d3f2533" providerId="ADAL" clId="{FC9ED260-ED45-4383-A6C6-F9ABC477379E}" dt="2021-07-24T03:08:45.222" v="774"/>
          <ac:spMkLst>
            <pc:docMk/>
            <pc:sldMk cId="423327401" sldId="268"/>
            <ac:spMk id="9" creationId="{FC2D352B-0815-4FCF-B2A9-3FE59E0A24AD}"/>
          </ac:spMkLst>
        </pc:spChg>
        <pc:spChg chg="add del mod">
          <ac:chgData name="Sushant" userId="9fb19323-084a-4aea-8034-88a68d3f2533" providerId="ADAL" clId="{FC9ED260-ED45-4383-A6C6-F9ABC477379E}" dt="2021-07-24T03:08:45.222" v="774"/>
          <ac:spMkLst>
            <pc:docMk/>
            <pc:sldMk cId="423327401" sldId="268"/>
            <ac:spMk id="10" creationId="{26332AEE-B07E-4A62-A02D-75894B808847}"/>
          </ac:spMkLst>
        </pc:spChg>
        <pc:spChg chg="add del mod">
          <ac:chgData name="Sushant" userId="9fb19323-084a-4aea-8034-88a68d3f2533" providerId="ADAL" clId="{FC9ED260-ED45-4383-A6C6-F9ABC477379E}" dt="2021-07-24T03:08:45.222" v="774"/>
          <ac:spMkLst>
            <pc:docMk/>
            <pc:sldMk cId="423327401" sldId="268"/>
            <ac:spMk id="11" creationId="{5C9FADA0-83C3-478D-B412-3C9C426EF508}"/>
          </ac:spMkLst>
        </pc:spChg>
        <pc:spChg chg="add del mod">
          <ac:chgData name="Sushant" userId="9fb19323-084a-4aea-8034-88a68d3f2533" providerId="ADAL" clId="{FC9ED260-ED45-4383-A6C6-F9ABC477379E}" dt="2021-07-24T03:08:45.222" v="774"/>
          <ac:spMkLst>
            <pc:docMk/>
            <pc:sldMk cId="423327401" sldId="268"/>
            <ac:spMk id="12" creationId="{66A1D830-3E32-43D6-AF76-392E0B9F31CA}"/>
          </ac:spMkLst>
        </pc:spChg>
        <pc:spChg chg="add del mod">
          <ac:chgData name="Sushant" userId="9fb19323-084a-4aea-8034-88a68d3f2533" providerId="ADAL" clId="{FC9ED260-ED45-4383-A6C6-F9ABC477379E}" dt="2021-07-24T03:08:45.222" v="774"/>
          <ac:spMkLst>
            <pc:docMk/>
            <pc:sldMk cId="423327401" sldId="268"/>
            <ac:spMk id="13" creationId="{AF369D69-85CB-4A83-9B8C-3E1C225A374D}"/>
          </ac:spMkLst>
        </pc:spChg>
        <pc:spChg chg="add del mod">
          <ac:chgData name="Sushant" userId="9fb19323-084a-4aea-8034-88a68d3f2533" providerId="ADAL" clId="{FC9ED260-ED45-4383-A6C6-F9ABC477379E}" dt="2021-07-24T02:59:01.508" v="510" actId="478"/>
          <ac:spMkLst>
            <pc:docMk/>
            <pc:sldMk cId="423327401" sldId="268"/>
            <ac:spMk id="14" creationId="{EE7142B8-B38D-48B3-9598-5C07761D695A}"/>
          </ac:spMkLst>
        </pc:spChg>
        <pc:spChg chg="add del mod">
          <ac:chgData name="Sushant" userId="9fb19323-084a-4aea-8034-88a68d3f2533" providerId="ADAL" clId="{FC9ED260-ED45-4383-A6C6-F9ABC477379E}" dt="2021-07-24T03:08:45.222" v="774"/>
          <ac:spMkLst>
            <pc:docMk/>
            <pc:sldMk cId="423327401" sldId="268"/>
            <ac:spMk id="15" creationId="{2D3F0013-7CFC-4B71-B806-7D58229C8126}"/>
          </ac:spMkLst>
        </pc:spChg>
        <pc:spChg chg="add del mod">
          <ac:chgData name="Sushant" userId="9fb19323-084a-4aea-8034-88a68d3f2533" providerId="ADAL" clId="{FC9ED260-ED45-4383-A6C6-F9ABC477379E}" dt="2021-07-24T03:08:45.222" v="774"/>
          <ac:spMkLst>
            <pc:docMk/>
            <pc:sldMk cId="423327401" sldId="268"/>
            <ac:spMk id="16" creationId="{64D69944-2E06-47D0-A188-ADF694337B2D}"/>
          </ac:spMkLst>
        </pc:spChg>
        <pc:spChg chg="add del mod">
          <ac:chgData name="Sushant" userId="9fb19323-084a-4aea-8034-88a68d3f2533" providerId="ADAL" clId="{FC9ED260-ED45-4383-A6C6-F9ABC477379E}" dt="2021-07-24T02:59:01.508" v="510" actId="478"/>
          <ac:spMkLst>
            <pc:docMk/>
            <pc:sldMk cId="423327401" sldId="268"/>
            <ac:spMk id="17" creationId="{81866C41-4A47-4567-9A8B-CA178289E27A}"/>
          </ac:spMkLst>
        </pc:spChg>
        <pc:spChg chg="add del mod">
          <ac:chgData name="Sushant" userId="9fb19323-084a-4aea-8034-88a68d3f2533" providerId="ADAL" clId="{FC9ED260-ED45-4383-A6C6-F9ABC477379E}" dt="2021-07-24T03:08:45.222" v="774"/>
          <ac:spMkLst>
            <pc:docMk/>
            <pc:sldMk cId="423327401" sldId="268"/>
            <ac:spMk id="18" creationId="{BBB8EA38-4C0E-4DF0-A6C9-53EFC991F294}"/>
          </ac:spMkLst>
        </pc:spChg>
        <pc:spChg chg="add del mod">
          <ac:chgData name="Sushant" userId="9fb19323-084a-4aea-8034-88a68d3f2533" providerId="ADAL" clId="{FC9ED260-ED45-4383-A6C6-F9ABC477379E}" dt="2021-07-24T02:54:13.544" v="72" actId="478"/>
          <ac:spMkLst>
            <pc:docMk/>
            <pc:sldMk cId="423327401" sldId="268"/>
            <ac:spMk id="20" creationId="{5CE756DC-BAFB-403A-97B0-4D8F327DAB4A}"/>
          </ac:spMkLst>
        </pc:spChg>
        <pc:spChg chg="add mod">
          <ac:chgData name="Sushant" userId="9fb19323-084a-4aea-8034-88a68d3f2533" providerId="ADAL" clId="{FC9ED260-ED45-4383-A6C6-F9ABC477379E}" dt="2021-07-24T02:57:03.903" v="416" actId="1076"/>
          <ac:spMkLst>
            <pc:docMk/>
            <pc:sldMk cId="423327401" sldId="268"/>
            <ac:spMk id="21" creationId="{3E37A11F-3EB5-456E-8378-C6A87A7DFE90}"/>
          </ac:spMkLst>
        </pc:spChg>
        <pc:spChg chg="add del mod modVis">
          <ac:chgData name="Sushant" userId="9fb19323-084a-4aea-8034-88a68d3f2533" providerId="ADAL" clId="{FC9ED260-ED45-4383-A6C6-F9ABC477379E}" dt="2021-07-24T02:56:26.521" v="115"/>
          <ac:spMkLst>
            <pc:docMk/>
            <pc:sldMk cId="423327401" sldId="268"/>
            <ac:spMk id="22" creationId="{5761223C-9C91-43D9-B8B2-B3CECBCA9FD3}"/>
          </ac:spMkLst>
        </pc:spChg>
        <pc:spChg chg="add del mod modVis">
          <ac:chgData name="Sushant" userId="9fb19323-084a-4aea-8034-88a68d3f2533" providerId="ADAL" clId="{FC9ED260-ED45-4383-A6C6-F9ABC477379E}" dt="2021-07-24T02:56:31.592" v="158"/>
          <ac:spMkLst>
            <pc:docMk/>
            <pc:sldMk cId="423327401" sldId="268"/>
            <ac:spMk id="23" creationId="{A33F242C-8730-452A-93F9-C133065985E6}"/>
          </ac:spMkLst>
        </pc:spChg>
        <pc:spChg chg="add del mod modVis">
          <ac:chgData name="Sushant" userId="9fb19323-084a-4aea-8034-88a68d3f2533" providerId="ADAL" clId="{FC9ED260-ED45-4383-A6C6-F9ABC477379E}" dt="2021-07-24T02:56:37.190" v="202"/>
          <ac:spMkLst>
            <pc:docMk/>
            <pc:sldMk cId="423327401" sldId="268"/>
            <ac:spMk id="24" creationId="{990DDBF9-5A3A-4FB4-8787-1BFD03DED946}"/>
          </ac:spMkLst>
        </pc:spChg>
        <pc:spChg chg="add del mod modVis">
          <ac:chgData name="Sushant" userId="9fb19323-084a-4aea-8034-88a68d3f2533" providerId="ADAL" clId="{FC9ED260-ED45-4383-A6C6-F9ABC477379E}" dt="2021-07-24T02:56:38.818" v="245"/>
          <ac:spMkLst>
            <pc:docMk/>
            <pc:sldMk cId="423327401" sldId="268"/>
            <ac:spMk id="25" creationId="{832B1BA1-5002-4C4A-87C3-A5EBAED2D6F9}"/>
          </ac:spMkLst>
        </pc:spChg>
        <pc:spChg chg="add del mod modVis">
          <ac:chgData name="Sushant" userId="9fb19323-084a-4aea-8034-88a68d3f2533" providerId="ADAL" clId="{FC9ED260-ED45-4383-A6C6-F9ABC477379E}" dt="2021-07-24T02:56:43.636" v="288"/>
          <ac:spMkLst>
            <pc:docMk/>
            <pc:sldMk cId="423327401" sldId="268"/>
            <ac:spMk id="26" creationId="{9B320745-70FB-4236-A818-712C1D6395ED}"/>
          </ac:spMkLst>
        </pc:spChg>
        <pc:spChg chg="add del mod modVis">
          <ac:chgData name="Sushant" userId="9fb19323-084a-4aea-8034-88a68d3f2533" providerId="ADAL" clId="{FC9ED260-ED45-4383-A6C6-F9ABC477379E}" dt="2021-07-24T02:56:49.563" v="331"/>
          <ac:spMkLst>
            <pc:docMk/>
            <pc:sldMk cId="423327401" sldId="268"/>
            <ac:spMk id="27" creationId="{612D3413-C512-4128-88AE-EE75C426E77F}"/>
          </ac:spMkLst>
        </pc:spChg>
        <pc:spChg chg="add del mod">
          <ac:chgData name="Sushant" userId="9fb19323-084a-4aea-8034-88a68d3f2533" providerId="ADAL" clId="{FC9ED260-ED45-4383-A6C6-F9ABC477379E}" dt="2021-07-24T03:02:55.564" v="553" actId="478"/>
          <ac:spMkLst>
            <pc:docMk/>
            <pc:sldMk cId="423327401" sldId="268"/>
            <ac:spMk id="28" creationId="{687DFA70-2147-403D-B848-059ED8389A32}"/>
          </ac:spMkLst>
        </pc:spChg>
        <pc:spChg chg="add del mod">
          <ac:chgData name="Sushant" userId="9fb19323-084a-4aea-8034-88a68d3f2533" providerId="ADAL" clId="{FC9ED260-ED45-4383-A6C6-F9ABC477379E}" dt="2021-07-24T03:02:55.564" v="553" actId="478"/>
          <ac:spMkLst>
            <pc:docMk/>
            <pc:sldMk cId="423327401" sldId="268"/>
            <ac:spMk id="29" creationId="{3A6181D8-05B7-4ADC-A180-C515D8F8BC34}"/>
          </ac:spMkLst>
        </pc:spChg>
        <pc:spChg chg="add del mod modVis">
          <ac:chgData name="Sushant" userId="9fb19323-084a-4aea-8034-88a68d3f2533" providerId="ADAL" clId="{FC9ED260-ED45-4383-A6C6-F9ABC477379E}" dt="2021-07-24T02:57:03.903" v="414" actId="962"/>
          <ac:spMkLst>
            <pc:docMk/>
            <pc:sldMk cId="423327401" sldId="268"/>
            <ac:spMk id="30" creationId="{E2181ED0-BDD4-4CBF-B9DE-4AFA5C3E5F33}"/>
          </ac:spMkLst>
        </pc:spChg>
        <pc:spChg chg="add del mod">
          <ac:chgData name="Sushant" userId="9fb19323-084a-4aea-8034-88a68d3f2533" providerId="ADAL" clId="{FC9ED260-ED45-4383-A6C6-F9ABC477379E}" dt="2021-07-24T03:02:58.001" v="554" actId="478"/>
          <ac:spMkLst>
            <pc:docMk/>
            <pc:sldMk cId="423327401" sldId="268"/>
            <ac:spMk id="32" creationId="{43A50B4A-961D-4310-A3AC-C7DDBA1C0860}"/>
          </ac:spMkLst>
        </pc:spChg>
        <pc:grpChg chg="add del mod">
          <ac:chgData name="Sushant" userId="9fb19323-084a-4aea-8034-88a68d3f2533" providerId="ADAL" clId="{FC9ED260-ED45-4383-A6C6-F9ABC477379E}" dt="2021-07-24T03:08:45.222" v="774"/>
          <ac:grpSpMkLst>
            <pc:docMk/>
            <pc:sldMk cId="423327401" sldId="268"/>
            <ac:grpSpMk id="5" creationId="{6E57701C-748E-431B-A70E-5751E95F901D}"/>
          </ac:grpSpMkLst>
        </pc:grpChg>
        <pc:graphicFrameChg chg="add mod modVis">
          <ac:chgData name="Sushant" userId="9fb19323-084a-4aea-8034-88a68d3f2533" providerId="ADAL" clId="{FC9ED260-ED45-4383-A6C6-F9ABC477379E}" dt="2021-07-24T02:57:03.924" v="418"/>
          <ac:graphicFrameMkLst>
            <pc:docMk/>
            <pc:sldMk cId="423327401" sldId="268"/>
            <ac:graphicFrameMk id="4" creationId="{88590C69-40DA-48D5-8800-DD9650319A39}"/>
          </ac:graphicFrameMkLst>
        </pc:graphicFrameChg>
        <pc:cxnChg chg="add del mod">
          <ac:chgData name="Sushant" userId="9fb19323-084a-4aea-8034-88a68d3f2533" providerId="ADAL" clId="{FC9ED260-ED45-4383-A6C6-F9ABC477379E}" dt="2021-07-24T02:54:14.900" v="73" actId="478"/>
          <ac:cxnSpMkLst>
            <pc:docMk/>
            <pc:sldMk cId="423327401" sldId="268"/>
            <ac:cxnSpMk id="19" creationId="{23171120-31A9-4CA7-BDEE-69815B1597F7}"/>
          </ac:cxnSpMkLst>
        </pc:cxnChg>
      </pc:sldChg>
      <pc:sldChg chg="addSp delSp modSp add">
        <pc:chgData name="Sushant" userId="9fb19323-084a-4aea-8034-88a68d3f2533" providerId="ADAL" clId="{FC9ED260-ED45-4383-A6C6-F9ABC477379E}" dt="2021-07-25T20:47:43.763" v="9968" actId="2085"/>
        <pc:sldMkLst>
          <pc:docMk/>
          <pc:sldMk cId="513114675" sldId="269"/>
        </pc:sldMkLst>
        <pc:spChg chg="mod">
          <ac:chgData name="Sushant" userId="9fb19323-084a-4aea-8034-88a68d3f2533" providerId="ADAL" clId="{FC9ED260-ED45-4383-A6C6-F9ABC477379E}" dt="2021-07-24T03:08:57.776" v="778" actId="948"/>
          <ac:spMkLst>
            <pc:docMk/>
            <pc:sldMk cId="513114675" sldId="269"/>
            <ac:spMk id="2" creationId="{0B170523-38CD-4D8A-B53B-964DA661B0D6}"/>
          </ac:spMkLst>
        </pc:spChg>
        <pc:spChg chg="add mod">
          <ac:chgData name="Sushant" userId="9fb19323-084a-4aea-8034-88a68d3f2533" providerId="ADAL" clId="{FC9ED260-ED45-4383-A6C6-F9ABC477379E}" dt="2021-07-24T03:12:26.858" v="919" actId="20577"/>
          <ac:spMkLst>
            <pc:docMk/>
            <pc:sldMk cId="513114675" sldId="269"/>
            <ac:spMk id="6" creationId="{B2927777-A27E-42AB-92E2-FFF44418EC94}"/>
          </ac:spMkLst>
        </pc:spChg>
        <pc:spChg chg="add mod">
          <ac:chgData name="Sushant" userId="9fb19323-084a-4aea-8034-88a68d3f2533" providerId="ADAL" clId="{FC9ED260-ED45-4383-A6C6-F9ABC477379E}" dt="2021-07-24T05:13:44.391" v="7048" actId="207"/>
          <ac:spMkLst>
            <pc:docMk/>
            <pc:sldMk cId="513114675" sldId="269"/>
            <ac:spMk id="7" creationId="{6958FA60-FAAD-43B3-AC7D-BE711C734D6A}"/>
          </ac:spMkLst>
        </pc:spChg>
        <pc:spChg chg="add mod">
          <ac:chgData name="Sushant" userId="9fb19323-084a-4aea-8034-88a68d3f2533" providerId="ADAL" clId="{FC9ED260-ED45-4383-A6C6-F9ABC477379E}" dt="2021-07-24T03:11:36.806" v="899" actId="1076"/>
          <ac:spMkLst>
            <pc:docMk/>
            <pc:sldMk cId="513114675" sldId="269"/>
            <ac:spMk id="8" creationId="{35B72598-EBCE-4E84-93A2-5D5B50202776}"/>
          </ac:spMkLst>
        </pc:spChg>
        <pc:spChg chg="add mod">
          <ac:chgData name="Sushant" userId="9fb19323-084a-4aea-8034-88a68d3f2533" providerId="ADAL" clId="{FC9ED260-ED45-4383-A6C6-F9ABC477379E}" dt="2021-07-25T20:47:43.763" v="9968" actId="2085"/>
          <ac:spMkLst>
            <pc:docMk/>
            <pc:sldMk cId="513114675" sldId="269"/>
            <ac:spMk id="9" creationId="{DB33A030-F9C9-44E9-A04B-6CC4C36F4EE5}"/>
          </ac:spMkLst>
        </pc:spChg>
        <pc:spChg chg="add mod">
          <ac:chgData name="Sushant" userId="9fb19323-084a-4aea-8034-88a68d3f2533" providerId="ADAL" clId="{FC9ED260-ED45-4383-A6C6-F9ABC477379E}" dt="2021-07-24T03:11:29.086" v="896" actId="1076"/>
          <ac:spMkLst>
            <pc:docMk/>
            <pc:sldMk cId="513114675" sldId="269"/>
            <ac:spMk id="10" creationId="{C367D298-8F36-4CF1-A26F-4A585E0AB286}"/>
          </ac:spMkLst>
        </pc:spChg>
        <pc:spChg chg="add mod">
          <ac:chgData name="Sushant" userId="9fb19323-084a-4aea-8034-88a68d3f2533" providerId="ADAL" clId="{FC9ED260-ED45-4383-A6C6-F9ABC477379E}" dt="2021-07-24T05:13:44.391" v="7048" actId="207"/>
          <ac:spMkLst>
            <pc:docMk/>
            <pc:sldMk cId="513114675" sldId="269"/>
            <ac:spMk id="11" creationId="{E54A79D0-D47D-4CBC-842E-C1B2C24C7BB6}"/>
          </ac:spMkLst>
        </pc:spChg>
        <pc:spChg chg="add mod">
          <ac:chgData name="Sushant" userId="9fb19323-084a-4aea-8034-88a68d3f2533" providerId="ADAL" clId="{FC9ED260-ED45-4383-A6C6-F9ABC477379E}" dt="2021-07-24T05:13:44.391" v="7048" actId="207"/>
          <ac:spMkLst>
            <pc:docMk/>
            <pc:sldMk cId="513114675" sldId="269"/>
            <ac:spMk id="12" creationId="{01F207E4-84A8-4D23-B813-677EC27D6BD5}"/>
          </ac:spMkLst>
        </pc:spChg>
        <pc:spChg chg="add mod">
          <ac:chgData name="Sushant" userId="9fb19323-084a-4aea-8034-88a68d3f2533" providerId="ADAL" clId="{FC9ED260-ED45-4383-A6C6-F9ABC477379E}" dt="2021-07-24T03:11:36.806" v="899" actId="1076"/>
          <ac:spMkLst>
            <pc:docMk/>
            <pc:sldMk cId="513114675" sldId="269"/>
            <ac:spMk id="13" creationId="{093BA061-F792-43F2-B8A0-FCB0B3F0D044}"/>
          </ac:spMkLst>
        </pc:spChg>
        <pc:spChg chg="add mod">
          <ac:chgData name="Sushant" userId="9fb19323-084a-4aea-8034-88a68d3f2533" providerId="ADAL" clId="{FC9ED260-ED45-4383-A6C6-F9ABC477379E}" dt="2021-07-24T03:11:29.086" v="896" actId="1076"/>
          <ac:spMkLst>
            <pc:docMk/>
            <pc:sldMk cId="513114675" sldId="269"/>
            <ac:spMk id="14" creationId="{17601CC9-8447-47B6-8686-F87A9DB48B29}"/>
          </ac:spMkLst>
        </pc:spChg>
        <pc:spChg chg="add del mod modVis">
          <ac:chgData name="Sushant" userId="9fb19323-084a-4aea-8034-88a68d3f2533" providerId="ADAL" clId="{FC9ED260-ED45-4383-A6C6-F9ABC477379E}" dt="2021-07-24T03:08:57.840" v="817"/>
          <ac:spMkLst>
            <pc:docMk/>
            <pc:sldMk cId="513114675" sldId="269"/>
            <ac:spMk id="15" creationId="{21813CC3-EDBD-4C5B-B1F0-2E26B2215921}"/>
          </ac:spMkLst>
        </pc:spChg>
        <pc:spChg chg="add mod">
          <ac:chgData name="Sushant" userId="9fb19323-084a-4aea-8034-88a68d3f2533" providerId="ADAL" clId="{FC9ED260-ED45-4383-A6C6-F9ABC477379E}" dt="2021-07-24T03:28:01.749" v="1992" actId="1076"/>
          <ac:spMkLst>
            <pc:docMk/>
            <pc:sldMk cId="513114675" sldId="269"/>
            <ac:spMk id="17" creationId="{505614A4-5499-493C-8C84-ED3ECBE1195C}"/>
          </ac:spMkLst>
        </pc:spChg>
        <pc:grpChg chg="add mod">
          <ac:chgData name="Sushant" userId="9fb19323-084a-4aea-8034-88a68d3f2533" providerId="ADAL" clId="{FC9ED260-ED45-4383-A6C6-F9ABC477379E}" dt="2021-07-24T03:10:32.919" v="848" actId="1076"/>
          <ac:grpSpMkLst>
            <pc:docMk/>
            <pc:sldMk cId="513114675" sldId="269"/>
            <ac:grpSpMk id="3" creationId="{9D3A3843-320D-4ED8-843F-85039A09115A}"/>
          </ac:grpSpMkLst>
        </pc:grpChg>
        <pc:graphicFrameChg chg="add mod ord modVis">
          <ac:chgData name="Sushant" userId="9fb19323-084a-4aea-8034-88a68d3f2533" providerId="ADAL" clId="{FC9ED260-ED45-4383-A6C6-F9ABC477379E}" dt="2021-07-24T03:08:57.881" v="832"/>
          <ac:graphicFrameMkLst>
            <pc:docMk/>
            <pc:sldMk cId="513114675" sldId="269"/>
            <ac:graphicFrameMk id="16" creationId="{038AB439-FEB0-44E9-8E60-37D1EF1D6EB0}"/>
          </ac:graphicFrameMkLst>
        </pc:graphicFrameChg>
        <pc:picChg chg="add del mod">
          <ac:chgData name="Sushant" userId="9fb19323-084a-4aea-8034-88a68d3f2533" providerId="ADAL" clId="{FC9ED260-ED45-4383-A6C6-F9ABC477379E}" dt="2021-07-24T05:13:47.375" v="7049" actId="478"/>
          <ac:picMkLst>
            <pc:docMk/>
            <pc:sldMk cId="513114675" sldId="269"/>
            <ac:picMk id="18" creationId="{FB21A47A-F09E-41D6-97C2-979AD3A7375A}"/>
          </ac:picMkLst>
        </pc:picChg>
      </pc:sldChg>
      <pc:sldChg chg="addSp delSp modSp add">
        <pc:chgData name="Sushant" userId="9fb19323-084a-4aea-8034-88a68d3f2533" providerId="ADAL" clId="{FC9ED260-ED45-4383-A6C6-F9ABC477379E}" dt="2021-07-24T05:46:06.770" v="9038" actId="1076"/>
        <pc:sldMkLst>
          <pc:docMk/>
          <pc:sldMk cId="530549270" sldId="270"/>
        </pc:sldMkLst>
        <pc:spChg chg="mod">
          <ac:chgData name="Sushant" userId="9fb19323-084a-4aea-8034-88a68d3f2533" providerId="ADAL" clId="{FC9ED260-ED45-4383-A6C6-F9ABC477379E}" dt="2021-07-24T05:45:00.032" v="8982" actId="948"/>
          <ac:spMkLst>
            <pc:docMk/>
            <pc:sldMk cId="530549270" sldId="270"/>
            <ac:spMk id="2" creationId="{BA5BD13B-28D3-4104-B36E-4A4B1D4DC584}"/>
          </ac:spMkLst>
        </pc:spChg>
        <pc:spChg chg="add del mod">
          <ac:chgData name="Sushant" userId="9fb19323-084a-4aea-8034-88a68d3f2533" providerId="ADAL" clId="{FC9ED260-ED45-4383-A6C6-F9ABC477379E}" dt="2021-07-24T03:24:14.589" v="1231" actId="11529"/>
          <ac:spMkLst>
            <pc:docMk/>
            <pc:sldMk cId="530549270" sldId="270"/>
            <ac:spMk id="3" creationId="{1CC696B8-732F-4E2E-9E38-7E8C0D6F337F}"/>
          </ac:spMkLst>
        </pc:spChg>
        <pc:spChg chg="add del mod modVis">
          <ac:chgData name="Sushant" userId="9fb19323-084a-4aea-8034-88a68d3f2533" providerId="ADAL" clId="{FC9ED260-ED45-4383-A6C6-F9ABC477379E}" dt="2021-07-24T03:14:29.470" v="1022"/>
          <ac:spMkLst>
            <pc:docMk/>
            <pc:sldMk cId="530549270" sldId="270"/>
            <ac:spMk id="3" creationId="{26A84330-CE5F-4C06-99C6-2741B12F6CF7}"/>
          </ac:spMkLst>
        </pc:spChg>
        <pc:spChg chg="add mod">
          <ac:chgData name="Sushant" userId="9fb19323-084a-4aea-8034-88a68d3f2533" providerId="ADAL" clId="{FC9ED260-ED45-4383-A6C6-F9ABC477379E}" dt="2021-07-24T03:28:23.461" v="1994" actId="1076"/>
          <ac:spMkLst>
            <pc:docMk/>
            <pc:sldMk cId="530549270" sldId="270"/>
            <ac:spMk id="4" creationId="{0BEE5E8D-FA46-4EF8-9D41-1BB925DA5635}"/>
          </ac:spMkLst>
        </pc:spChg>
        <pc:spChg chg="add del mod modVis">
          <ac:chgData name="Sushant" userId="9fb19323-084a-4aea-8034-88a68d3f2533" providerId="ADAL" clId="{FC9ED260-ED45-4383-A6C6-F9ABC477379E}" dt="2021-07-24T03:14:33.335" v="1063"/>
          <ac:spMkLst>
            <pc:docMk/>
            <pc:sldMk cId="530549270" sldId="270"/>
            <ac:spMk id="5" creationId="{31565707-E1CC-4540-BFA2-9605866B1062}"/>
          </ac:spMkLst>
        </pc:spChg>
        <pc:spChg chg="add mod">
          <ac:chgData name="Sushant" userId="9fb19323-084a-4aea-8034-88a68d3f2533" providerId="ADAL" clId="{FC9ED260-ED45-4383-A6C6-F9ABC477379E}" dt="2021-07-24T05:46:06.770" v="9038" actId="1076"/>
          <ac:spMkLst>
            <pc:docMk/>
            <pc:sldMk cId="530549270" sldId="270"/>
            <ac:spMk id="5" creationId="{C4D95F85-EAC0-46D5-BB19-9B17186EFDDF}"/>
          </ac:spMkLst>
        </pc:spChg>
        <pc:spChg chg="add del mod">
          <ac:chgData name="Sushant" userId="9fb19323-084a-4aea-8034-88a68d3f2533" providerId="ADAL" clId="{FC9ED260-ED45-4383-A6C6-F9ABC477379E}" dt="2021-07-24T03:25:39.921" v="1280" actId="478"/>
          <ac:spMkLst>
            <pc:docMk/>
            <pc:sldMk cId="530549270" sldId="270"/>
            <ac:spMk id="7" creationId="{D9084374-8FF3-46D1-951E-234F53AEBB65}"/>
          </ac:spMkLst>
        </pc:spChg>
        <pc:spChg chg="add del mod modVis">
          <ac:chgData name="Sushant" userId="9fb19323-084a-4aea-8034-88a68d3f2533" providerId="ADAL" clId="{FC9ED260-ED45-4383-A6C6-F9ABC477379E}" dt="2021-07-24T03:26:56.871" v="1331"/>
          <ac:spMkLst>
            <pc:docMk/>
            <pc:sldMk cId="530549270" sldId="270"/>
            <ac:spMk id="31" creationId="{DEDD37EE-5DBA-400F-80F6-0618282D9BD3}"/>
          </ac:spMkLst>
        </pc:spChg>
        <pc:spChg chg="add del mod modVis">
          <ac:chgData name="Sushant" userId="9fb19323-084a-4aea-8034-88a68d3f2533" providerId="ADAL" clId="{FC9ED260-ED45-4383-A6C6-F9ABC477379E}" dt="2021-07-24T03:26:57.674" v="1376"/>
          <ac:spMkLst>
            <pc:docMk/>
            <pc:sldMk cId="530549270" sldId="270"/>
            <ac:spMk id="32" creationId="{4317A542-1208-4742-BF99-C9CABB3B25F4}"/>
          </ac:spMkLst>
        </pc:spChg>
        <pc:spChg chg="add del mod">
          <ac:chgData name="Sushant" userId="9fb19323-084a-4aea-8034-88a68d3f2533" providerId="ADAL" clId="{FC9ED260-ED45-4383-A6C6-F9ABC477379E}" dt="2021-07-24T03:21:29.437" v="1203" actId="478"/>
          <ac:spMkLst>
            <pc:docMk/>
            <pc:sldMk cId="530549270" sldId="270"/>
            <ac:spMk id="51" creationId="{43837460-AE0B-4766-B83E-1C51B9A95E10}"/>
          </ac:spMkLst>
        </pc:spChg>
        <pc:spChg chg="add del mod">
          <ac:chgData name="Sushant" userId="9fb19323-084a-4aea-8034-88a68d3f2533" providerId="ADAL" clId="{FC9ED260-ED45-4383-A6C6-F9ABC477379E}" dt="2021-07-24T03:21:28.863" v="1202" actId="478"/>
          <ac:spMkLst>
            <pc:docMk/>
            <pc:sldMk cId="530549270" sldId="270"/>
            <ac:spMk id="52" creationId="{7E5046A7-0A6F-4265-9FDA-B8F3553CBCC5}"/>
          </ac:spMkLst>
        </pc:spChg>
        <pc:spChg chg="add mod">
          <ac:chgData name="Sushant" userId="9fb19323-084a-4aea-8034-88a68d3f2533" providerId="ADAL" clId="{FC9ED260-ED45-4383-A6C6-F9ABC477379E}" dt="2021-07-24T03:23:59.278" v="1227" actId="1076"/>
          <ac:spMkLst>
            <pc:docMk/>
            <pc:sldMk cId="530549270" sldId="270"/>
            <ac:spMk id="53" creationId="{E16D4776-7060-45CC-ADC1-83B5A26FB4BE}"/>
          </ac:spMkLst>
        </pc:spChg>
        <pc:spChg chg="add mod">
          <ac:chgData name="Sushant" userId="9fb19323-084a-4aea-8034-88a68d3f2533" providerId="ADAL" clId="{FC9ED260-ED45-4383-A6C6-F9ABC477379E}" dt="2021-07-24T03:23:59.278" v="1227" actId="1076"/>
          <ac:spMkLst>
            <pc:docMk/>
            <pc:sldMk cId="530549270" sldId="270"/>
            <ac:spMk id="60" creationId="{9040C29D-6280-416D-8020-92C3C5411966}"/>
          </ac:spMkLst>
        </pc:spChg>
        <pc:spChg chg="add mod">
          <ac:chgData name="Sushant" userId="9fb19323-084a-4aea-8034-88a68d3f2533" providerId="ADAL" clId="{FC9ED260-ED45-4383-A6C6-F9ABC477379E}" dt="2021-07-24T03:23:59.278" v="1227" actId="1076"/>
          <ac:spMkLst>
            <pc:docMk/>
            <pc:sldMk cId="530549270" sldId="270"/>
            <ac:spMk id="61" creationId="{8DBCE434-AB13-41F6-A866-C63EA3F655E5}"/>
          </ac:spMkLst>
        </pc:spChg>
        <pc:spChg chg="add mod">
          <ac:chgData name="Sushant" userId="9fb19323-084a-4aea-8034-88a68d3f2533" providerId="ADAL" clId="{FC9ED260-ED45-4383-A6C6-F9ABC477379E}" dt="2021-07-24T03:23:59.278" v="1227" actId="1076"/>
          <ac:spMkLst>
            <pc:docMk/>
            <pc:sldMk cId="530549270" sldId="270"/>
            <ac:spMk id="62" creationId="{64A94FB8-DF36-42A9-8080-CE08A202FF6B}"/>
          </ac:spMkLst>
        </pc:spChg>
        <pc:spChg chg="add mod">
          <ac:chgData name="Sushant" userId="9fb19323-084a-4aea-8034-88a68d3f2533" providerId="ADAL" clId="{FC9ED260-ED45-4383-A6C6-F9ABC477379E}" dt="2021-07-24T03:23:59.278" v="1227" actId="1076"/>
          <ac:spMkLst>
            <pc:docMk/>
            <pc:sldMk cId="530549270" sldId="270"/>
            <ac:spMk id="63" creationId="{A8573706-6DEF-4097-9BF3-BBA83E0B1ED7}"/>
          </ac:spMkLst>
        </pc:spChg>
        <pc:spChg chg="add mod">
          <ac:chgData name="Sushant" userId="9fb19323-084a-4aea-8034-88a68d3f2533" providerId="ADAL" clId="{FC9ED260-ED45-4383-A6C6-F9ABC477379E}" dt="2021-07-24T03:26:06.820" v="1282" actId="14100"/>
          <ac:spMkLst>
            <pc:docMk/>
            <pc:sldMk cId="530549270" sldId="270"/>
            <ac:spMk id="64" creationId="{30D5BCFA-82B9-4F06-933B-523F8BF94CCE}"/>
          </ac:spMkLst>
        </pc:spChg>
        <pc:spChg chg="add del mod modVis">
          <ac:chgData name="Sushant" userId="9fb19323-084a-4aea-8034-88a68d3f2533" providerId="ADAL" clId="{FC9ED260-ED45-4383-A6C6-F9ABC477379E}" dt="2021-07-24T03:26:59.625" v="1426"/>
          <ac:spMkLst>
            <pc:docMk/>
            <pc:sldMk cId="530549270" sldId="270"/>
            <ac:spMk id="65" creationId="{DC81F2F7-5095-4551-B580-4C11B7EA593B}"/>
          </ac:spMkLst>
        </pc:spChg>
        <pc:spChg chg="add del mod modVis">
          <ac:chgData name="Sushant" userId="9fb19323-084a-4aea-8034-88a68d3f2533" providerId="ADAL" clId="{FC9ED260-ED45-4383-A6C6-F9ABC477379E}" dt="2021-07-24T03:27:01.695" v="1470"/>
          <ac:spMkLst>
            <pc:docMk/>
            <pc:sldMk cId="530549270" sldId="270"/>
            <ac:spMk id="66" creationId="{A3EC6ED9-0059-4D9C-8A00-970B67A8F161}"/>
          </ac:spMkLst>
        </pc:spChg>
        <pc:spChg chg="add del mod modVis">
          <ac:chgData name="Sushant" userId="9fb19323-084a-4aea-8034-88a68d3f2533" providerId="ADAL" clId="{FC9ED260-ED45-4383-A6C6-F9ABC477379E}" dt="2021-07-24T03:27:03.169" v="1518"/>
          <ac:spMkLst>
            <pc:docMk/>
            <pc:sldMk cId="530549270" sldId="270"/>
            <ac:spMk id="67" creationId="{BCEA4974-924F-41D5-A928-70715F31EF45}"/>
          </ac:spMkLst>
        </pc:spChg>
        <pc:spChg chg="add del mod modVis">
          <ac:chgData name="Sushant" userId="9fb19323-084a-4aea-8034-88a68d3f2533" providerId="ADAL" clId="{FC9ED260-ED45-4383-A6C6-F9ABC477379E}" dt="2021-07-24T03:27:04.196" v="1564"/>
          <ac:spMkLst>
            <pc:docMk/>
            <pc:sldMk cId="530549270" sldId="270"/>
            <ac:spMk id="68" creationId="{97E8C5E2-45A2-48EB-9AE6-CAE0646B1D40}"/>
          </ac:spMkLst>
        </pc:spChg>
        <pc:spChg chg="add del mod modVis">
          <ac:chgData name="Sushant" userId="9fb19323-084a-4aea-8034-88a68d3f2533" providerId="ADAL" clId="{FC9ED260-ED45-4383-A6C6-F9ABC477379E}" dt="2021-07-24T03:27:06.043" v="1611"/>
          <ac:spMkLst>
            <pc:docMk/>
            <pc:sldMk cId="530549270" sldId="270"/>
            <ac:spMk id="69" creationId="{2DB685E6-0F22-44CE-921A-6C3A9F958D7A}"/>
          </ac:spMkLst>
        </pc:spChg>
        <pc:spChg chg="add del mod modVis">
          <ac:chgData name="Sushant" userId="9fb19323-084a-4aea-8034-88a68d3f2533" providerId="ADAL" clId="{FC9ED260-ED45-4383-A6C6-F9ABC477379E}" dt="2021-07-24T03:27:10.048" v="1672"/>
          <ac:spMkLst>
            <pc:docMk/>
            <pc:sldMk cId="530549270" sldId="270"/>
            <ac:spMk id="70" creationId="{1F9BF4C1-3C90-4546-90A9-CA7218DD9410}"/>
          </ac:spMkLst>
        </pc:spChg>
        <pc:spChg chg="add del mod modVis">
          <ac:chgData name="Sushant" userId="9fb19323-084a-4aea-8034-88a68d3f2533" providerId="ADAL" clId="{FC9ED260-ED45-4383-A6C6-F9ABC477379E}" dt="2021-07-24T03:27:11.325" v="1718"/>
          <ac:spMkLst>
            <pc:docMk/>
            <pc:sldMk cId="530549270" sldId="270"/>
            <ac:spMk id="71" creationId="{1D590694-C454-4974-9120-907B9E02DD11}"/>
          </ac:spMkLst>
        </pc:spChg>
        <pc:spChg chg="add del mod modVis">
          <ac:chgData name="Sushant" userId="9fb19323-084a-4aea-8034-88a68d3f2533" providerId="ADAL" clId="{FC9ED260-ED45-4383-A6C6-F9ABC477379E}" dt="2021-07-24T03:27:12.665" v="1764"/>
          <ac:spMkLst>
            <pc:docMk/>
            <pc:sldMk cId="530549270" sldId="270"/>
            <ac:spMk id="72" creationId="{6A99D33E-E8B3-4586-AE3A-E957A849DE19}"/>
          </ac:spMkLst>
        </pc:spChg>
        <pc:spChg chg="add del mod modVis">
          <ac:chgData name="Sushant" userId="9fb19323-084a-4aea-8034-88a68d3f2533" providerId="ADAL" clId="{FC9ED260-ED45-4383-A6C6-F9ABC477379E}" dt="2021-07-24T03:27:13.924" v="1811"/>
          <ac:spMkLst>
            <pc:docMk/>
            <pc:sldMk cId="530549270" sldId="270"/>
            <ac:spMk id="73" creationId="{1D7B5E24-0305-4215-B51E-6B3F8B09AABF}"/>
          </ac:spMkLst>
        </pc:spChg>
        <pc:spChg chg="add del mod modVis">
          <ac:chgData name="Sushant" userId="9fb19323-084a-4aea-8034-88a68d3f2533" providerId="ADAL" clId="{FC9ED260-ED45-4383-A6C6-F9ABC477379E}" dt="2021-07-24T03:27:15.239" v="1856"/>
          <ac:spMkLst>
            <pc:docMk/>
            <pc:sldMk cId="530549270" sldId="270"/>
            <ac:spMk id="74" creationId="{C3EF95AB-4B9E-4E7A-B86B-6771E99DCBC5}"/>
          </ac:spMkLst>
        </pc:spChg>
        <pc:spChg chg="add del mod modVis">
          <ac:chgData name="Sushant" userId="9fb19323-084a-4aea-8034-88a68d3f2533" providerId="ADAL" clId="{FC9ED260-ED45-4383-A6C6-F9ABC477379E}" dt="2021-07-24T03:27:16.603" v="1900"/>
          <ac:spMkLst>
            <pc:docMk/>
            <pc:sldMk cId="530549270" sldId="270"/>
            <ac:spMk id="75" creationId="{F792FF49-DCDC-4BC7-AB65-8C553220D587}"/>
          </ac:spMkLst>
        </pc:spChg>
        <pc:spChg chg="add del mod modVis">
          <ac:chgData name="Sushant" userId="9fb19323-084a-4aea-8034-88a68d3f2533" providerId="ADAL" clId="{FC9ED260-ED45-4383-A6C6-F9ABC477379E}" dt="2021-07-24T03:27:19.317" v="1944"/>
          <ac:spMkLst>
            <pc:docMk/>
            <pc:sldMk cId="530549270" sldId="270"/>
            <ac:spMk id="76" creationId="{5A65D6E2-79AE-4CB6-B2DC-B35874E25E69}"/>
          </ac:spMkLst>
        </pc:spChg>
        <pc:spChg chg="add del mod modVis">
          <ac:chgData name="Sushant" userId="9fb19323-084a-4aea-8034-88a68d3f2533" providerId="ADAL" clId="{FC9ED260-ED45-4383-A6C6-F9ABC477379E}" dt="2021-07-24T03:27:25.417" v="1987"/>
          <ac:spMkLst>
            <pc:docMk/>
            <pc:sldMk cId="530549270" sldId="270"/>
            <ac:spMk id="77" creationId="{749776BB-26D0-47C9-A4CD-83C2DB094ADA}"/>
          </ac:spMkLst>
        </pc:spChg>
        <pc:spChg chg="add">
          <ac:chgData name="Sushant" userId="9fb19323-084a-4aea-8034-88a68d3f2533" providerId="ADAL" clId="{FC9ED260-ED45-4383-A6C6-F9ABC477379E}" dt="2021-07-24T03:28:06.647" v="1993"/>
          <ac:spMkLst>
            <pc:docMk/>
            <pc:sldMk cId="530549270" sldId="270"/>
            <ac:spMk id="78" creationId="{FFE1C1D1-F64E-4BF2-9279-C2B2846D74AE}"/>
          </ac:spMkLst>
        </pc:spChg>
        <pc:spChg chg="add del mod modVis">
          <ac:chgData name="Sushant" userId="9fb19323-084a-4aea-8034-88a68d3f2533" providerId="ADAL" clId="{FC9ED260-ED45-4383-A6C6-F9ABC477379E}" dt="2021-07-24T03:28:39.970" v="2035"/>
          <ac:spMkLst>
            <pc:docMk/>
            <pc:sldMk cId="530549270" sldId="270"/>
            <ac:spMk id="79" creationId="{C4A09AFE-FE96-4289-8697-05272A3C803F}"/>
          </ac:spMkLst>
        </pc:spChg>
        <pc:spChg chg="add del mod modVis">
          <ac:chgData name="Sushant" userId="9fb19323-084a-4aea-8034-88a68d3f2533" providerId="ADAL" clId="{FC9ED260-ED45-4383-A6C6-F9ABC477379E}" dt="2021-07-24T05:45:00.086" v="9021"/>
          <ac:spMkLst>
            <pc:docMk/>
            <pc:sldMk cId="530549270" sldId="270"/>
            <ac:spMk id="80" creationId="{C04A53B4-B72B-478C-B7BA-45ACD808B069}"/>
          </ac:spMkLst>
        </pc:spChg>
        <pc:spChg chg="add del mod">
          <ac:chgData name="Sushant" userId="9fb19323-084a-4aea-8034-88a68d3f2533" providerId="ADAL" clId="{FC9ED260-ED45-4383-A6C6-F9ABC477379E}" dt="2021-07-24T05:45:39.729" v="9029" actId="478"/>
          <ac:spMkLst>
            <pc:docMk/>
            <pc:sldMk cId="530549270" sldId="270"/>
            <ac:spMk id="81" creationId="{D056DF29-0122-4CC9-A21D-3BE13BBC9551}"/>
          </ac:spMkLst>
        </pc:spChg>
        <pc:grpChg chg="del mod">
          <ac:chgData name="Sushant" userId="9fb19323-084a-4aea-8034-88a68d3f2533" providerId="ADAL" clId="{FC9ED260-ED45-4383-A6C6-F9ABC477379E}" dt="2021-07-24T03:17:25.717" v="1145"/>
          <ac:grpSpMkLst>
            <pc:docMk/>
            <pc:sldMk cId="530549270" sldId="270"/>
            <ac:grpSpMk id="20" creationId="{083F9E02-1FD4-446B-A808-7B4CB8A9B5B2}"/>
          </ac:grpSpMkLst>
        </pc:grpChg>
        <pc:grpChg chg="del mod">
          <ac:chgData name="Sushant" userId="9fb19323-084a-4aea-8034-88a68d3f2533" providerId="ADAL" clId="{FC9ED260-ED45-4383-A6C6-F9ABC477379E}" dt="2021-07-24T03:17:25.713" v="1134"/>
          <ac:grpSpMkLst>
            <pc:docMk/>
            <pc:sldMk cId="530549270" sldId="270"/>
            <ac:grpSpMk id="21" creationId="{103EA596-9F01-47A6-8558-123BC8717A7F}"/>
          </ac:grpSpMkLst>
        </pc:grpChg>
        <pc:grpChg chg="del mod">
          <ac:chgData name="Sushant" userId="9fb19323-084a-4aea-8034-88a68d3f2533" providerId="ADAL" clId="{FC9ED260-ED45-4383-A6C6-F9ABC477379E}" dt="2021-07-24T03:17:25.711" v="1130"/>
          <ac:grpSpMkLst>
            <pc:docMk/>
            <pc:sldMk cId="530549270" sldId="270"/>
            <ac:grpSpMk id="22" creationId="{F0D67414-729A-4F37-8D6D-36F738F82751}"/>
          </ac:grpSpMkLst>
        </pc:grpChg>
        <pc:grpChg chg="del mod">
          <ac:chgData name="Sushant" userId="9fb19323-084a-4aea-8034-88a68d3f2533" providerId="ADAL" clId="{FC9ED260-ED45-4383-A6C6-F9ABC477379E}" dt="2021-07-24T03:15:16.003" v="1106"/>
          <ac:grpSpMkLst>
            <pc:docMk/>
            <pc:sldMk cId="530549270" sldId="270"/>
            <ac:grpSpMk id="31" creationId="{4E22A124-722B-4361-B60E-DB456F02E50E}"/>
          </ac:grpSpMkLst>
        </pc:grpChg>
        <pc:grpChg chg="del mod">
          <ac:chgData name="Sushant" userId="9fb19323-084a-4aea-8034-88a68d3f2533" providerId="ADAL" clId="{FC9ED260-ED45-4383-A6C6-F9ABC477379E}" dt="2021-07-24T03:15:16.003" v="1106"/>
          <ac:grpSpMkLst>
            <pc:docMk/>
            <pc:sldMk cId="530549270" sldId="270"/>
            <ac:grpSpMk id="32" creationId="{B73F30CD-132D-4827-AEC8-795D4F014FA7}"/>
          </ac:grpSpMkLst>
        </pc:grpChg>
        <pc:grpChg chg="del mod">
          <ac:chgData name="Sushant" userId="9fb19323-084a-4aea-8034-88a68d3f2533" providerId="ADAL" clId="{FC9ED260-ED45-4383-A6C6-F9ABC477379E}" dt="2021-07-24T03:17:25.716" v="1142"/>
          <ac:grpSpMkLst>
            <pc:docMk/>
            <pc:sldMk cId="530549270" sldId="270"/>
            <ac:grpSpMk id="36" creationId="{E55CC3F1-345D-44A7-B745-536EB4AC58F7}"/>
          </ac:grpSpMkLst>
        </pc:grpChg>
        <pc:grpChg chg="del mod">
          <ac:chgData name="Sushant" userId="9fb19323-084a-4aea-8034-88a68d3f2533" providerId="ADAL" clId="{FC9ED260-ED45-4383-A6C6-F9ABC477379E}" dt="2021-07-24T03:17:25.713" v="1135"/>
          <ac:grpSpMkLst>
            <pc:docMk/>
            <pc:sldMk cId="530549270" sldId="270"/>
            <ac:grpSpMk id="40" creationId="{3EBE4A25-7976-4508-921C-60E9B4F5BBC3}"/>
          </ac:grpSpMkLst>
        </pc:grpChg>
        <pc:grpChg chg="del mod">
          <ac:chgData name="Sushant" userId="9fb19323-084a-4aea-8034-88a68d3f2533" providerId="ADAL" clId="{FC9ED260-ED45-4383-A6C6-F9ABC477379E}" dt="2021-07-24T03:17:25.710" v="1128"/>
          <ac:grpSpMkLst>
            <pc:docMk/>
            <pc:sldMk cId="530549270" sldId="270"/>
            <ac:grpSpMk id="43" creationId="{15279BDE-6BBC-4195-9F99-B2626BF0056A}"/>
          </ac:grpSpMkLst>
        </pc:grpChg>
        <pc:graphicFrameChg chg="add del mod ord modVis">
          <ac:chgData name="Sushant" userId="9fb19323-084a-4aea-8034-88a68d3f2533" providerId="ADAL" clId="{FC9ED260-ED45-4383-A6C6-F9ABC477379E}" dt="2021-07-24T03:14:29.470" v="1022"/>
          <ac:graphicFrameMkLst>
            <pc:docMk/>
            <pc:sldMk cId="530549270" sldId="270"/>
            <ac:graphicFrameMk id="4" creationId="{624E2C61-BFD7-4054-A6DB-DC7AA3C01E4F}"/>
          </ac:graphicFrameMkLst>
        </pc:graphicFrameChg>
        <pc:graphicFrameChg chg="add mod ord modVis">
          <ac:chgData name="Sushant" userId="9fb19323-084a-4aea-8034-88a68d3f2533" providerId="ADAL" clId="{FC9ED260-ED45-4383-A6C6-F9ABC477379E}" dt="2021-07-24T05:45:00.092" v="9023"/>
          <ac:graphicFrameMkLst>
            <pc:docMk/>
            <pc:sldMk cId="530549270" sldId="270"/>
            <ac:graphicFrameMk id="6" creationId="{3A1CEA33-5AAA-4C14-8579-5E36310D85E3}"/>
          </ac:graphicFrameMkLst>
        </pc:graphicFrameChg>
        <pc:graphicFrameChg chg="add del mod modGraphic">
          <ac:chgData name="Sushant" userId="9fb19323-084a-4aea-8034-88a68d3f2533" providerId="ADAL" clId="{FC9ED260-ED45-4383-A6C6-F9ABC477379E}" dt="2021-07-24T03:21:43.887" v="1207" actId="478"/>
          <ac:graphicFrameMkLst>
            <pc:docMk/>
            <pc:sldMk cId="530549270" sldId="270"/>
            <ac:graphicFrameMk id="54" creationId="{2A97887C-BA73-4CD4-9161-507619065E10}"/>
          </ac:graphicFrameMkLst>
        </pc:graphicFrameChg>
        <pc:graphicFrameChg chg="add del mod modGraphic">
          <ac:chgData name="Sushant" userId="9fb19323-084a-4aea-8034-88a68d3f2533" providerId="ADAL" clId="{FC9ED260-ED45-4383-A6C6-F9ABC477379E}" dt="2021-07-24T03:21:43.887" v="1207" actId="478"/>
          <ac:graphicFrameMkLst>
            <pc:docMk/>
            <pc:sldMk cId="530549270" sldId="270"/>
            <ac:graphicFrameMk id="55" creationId="{D1A48296-07F5-4BC8-9079-7B18E681380B}"/>
          </ac:graphicFrameMkLst>
        </pc:graphicFrameChg>
        <pc:graphicFrameChg chg="add del mod modGraphic">
          <ac:chgData name="Sushant" userId="9fb19323-084a-4aea-8034-88a68d3f2533" providerId="ADAL" clId="{FC9ED260-ED45-4383-A6C6-F9ABC477379E}" dt="2021-07-24T03:22:22.535" v="1211" actId="478"/>
          <ac:graphicFrameMkLst>
            <pc:docMk/>
            <pc:sldMk cId="530549270" sldId="270"/>
            <ac:graphicFrameMk id="56" creationId="{C276291C-6385-4E0C-B6D7-95BE4E2B1A14}"/>
          </ac:graphicFrameMkLst>
        </pc:graphicFrameChg>
        <pc:picChg chg="del mod">
          <ac:chgData name="Sushant" userId="9fb19323-084a-4aea-8034-88a68d3f2533" providerId="ADAL" clId="{FC9ED260-ED45-4383-A6C6-F9ABC477379E}" dt="2021-07-24T03:20:39.947" v="1187" actId="478"/>
          <ac:picMkLst>
            <pc:docMk/>
            <pc:sldMk cId="530549270" sldId="270"/>
            <ac:picMk id="48" creationId="{5A26188D-9208-4C44-A407-C1A4435ECB14}"/>
          </ac:picMkLst>
        </pc:picChg>
        <pc:picChg chg="add del mod">
          <ac:chgData name="Sushant" userId="9fb19323-084a-4aea-8034-88a68d3f2533" providerId="ADAL" clId="{FC9ED260-ED45-4383-A6C6-F9ABC477379E}" dt="2021-07-24T03:20:08.576" v="1173" actId="478"/>
          <ac:picMkLst>
            <pc:docMk/>
            <pc:sldMk cId="530549270" sldId="270"/>
            <ac:picMk id="49" creationId="{7BA82AA2-C2ED-41D0-B3A3-69137B0E1DCB}"/>
          </ac:picMkLst>
        </pc:picChg>
        <pc:picChg chg="add del mod">
          <ac:chgData name="Sushant" userId="9fb19323-084a-4aea-8034-88a68d3f2533" providerId="ADAL" clId="{FC9ED260-ED45-4383-A6C6-F9ABC477379E}" dt="2021-07-24T03:20:47.516" v="1189" actId="478"/>
          <ac:picMkLst>
            <pc:docMk/>
            <pc:sldMk cId="530549270" sldId="270"/>
            <ac:picMk id="50" creationId="{67C97F9D-5695-4EE7-86CE-F567C796A300}"/>
          </ac:picMkLst>
        </pc:picChg>
        <pc:picChg chg="add mod">
          <ac:chgData name="Sushant" userId="9fb19323-084a-4aea-8034-88a68d3f2533" providerId="ADAL" clId="{FC9ED260-ED45-4383-A6C6-F9ABC477379E}" dt="2021-07-24T03:23:59.278" v="1227" actId="1076"/>
          <ac:picMkLst>
            <pc:docMk/>
            <pc:sldMk cId="530549270" sldId="270"/>
            <ac:picMk id="57" creationId="{88234938-CEC3-47AD-8E3E-8251F109D61B}"/>
          </ac:picMkLst>
        </pc:picChg>
        <pc:picChg chg="add mod">
          <ac:chgData name="Sushant" userId="9fb19323-084a-4aea-8034-88a68d3f2533" providerId="ADAL" clId="{FC9ED260-ED45-4383-A6C6-F9ABC477379E}" dt="2021-07-24T03:23:59.278" v="1227" actId="1076"/>
          <ac:picMkLst>
            <pc:docMk/>
            <pc:sldMk cId="530549270" sldId="270"/>
            <ac:picMk id="58" creationId="{E86C832E-5BC8-445E-9F56-0A5078E7991D}"/>
          </ac:picMkLst>
        </pc:picChg>
        <pc:picChg chg="mod">
          <ac:chgData name="Sushant" userId="9fb19323-084a-4aea-8034-88a68d3f2533" providerId="ADAL" clId="{FC9ED260-ED45-4383-A6C6-F9ABC477379E}" dt="2021-07-24T03:23:59.278" v="1227" actId="1076"/>
          <ac:picMkLst>
            <pc:docMk/>
            <pc:sldMk cId="530549270" sldId="270"/>
            <ac:picMk id="59" creationId="{9A3BB04C-4B41-2C40-B37B-7DA443CAEC9C}"/>
          </ac:picMkLst>
        </pc:picChg>
        <pc:inkChg chg="add del mod">
          <ac:chgData name="Sushant" userId="9fb19323-084a-4aea-8034-88a68d3f2533" providerId="ADAL" clId="{FC9ED260-ED45-4383-A6C6-F9ABC477379E}" dt="2021-07-24T03:17:25.711" v="1130"/>
          <ac:inkMkLst>
            <pc:docMk/>
            <pc:sldMk cId="530549270" sldId="270"/>
            <ac:inkMk id="8" creationId="{1DFB0A21-BE5D-4783-A6AE-FEB4D4798F25}"/>
          </ac:inkMkLst>
        </pc:inkChg>
        <pc:inkChg chg="add del mod">
          <ac:chgData name="Sushant" userId="9fb19323-084a-4aea-8034-88a68d3f2533" providerId="ADAL" clId="{FC9ED260-ED45-4383-A6C6-F9ABC477379E}" dt="2021-07-24T03:17:25.706" v="1121"/>
          <ac:inkMkLst>
            <pc:docMk/>
            <pc:sldMk cId="530549270" sldId="270"/>
            <ac:inkMk id="9" creationId="{44E9C24A-9030-49E8-ADB5-2940ACB3B633}"/>
          </ac:inkMkLst>
        </pc:inkChg>
        <pc:inkChg chg="add del mod">
          <ac:chgData name="Sushant" userId="9fb19323-084a-4aea-8034-88a68d3f2533" providerId="ADAL" clId="{FC9ED260-ED45-4383-A6C6-F9ABC477379E}" dt="2021-07-24T03:17:25.717" v="1144"/>
          <ac:inkMkLst>
            <pc:docMk/>
            <pc:sldMk cId="530549270" sldId="270"/>
            <ac:inkMk id="10" creationId="{0FA044FB-7022-4B3A-8874-CC2E943A8835}"/>
          </ac:inkMkLst>
        </pc:inkChg>
        <pc:inkChg chg="add del mod">
          <ac:chgData name="Sushant" userId="9fb19323-084a-4aea-8034-88a68d3f2533" providerId="ADAL" clId="{FC9ED260-ED45-4383-A6C6-F9ABC477379E}" dt="2021-07-24T03:17:18.242" v="1120"/>
          <ac:inkMkLst>
            <pc:docMk/>
            <pc:sldMk cId="530549270" sldId="270"/>
            <ac:inkMk id="11" creationId="{FB3C268A-C6B6-47DA-A1FD-D38656AA66A2}"/>
          </ac:inkMkLst>
        </pc:inkChg>
        <pc:inkChg chg="add del mod">
          <ac:chgData name="Sushant" userId="9fb19323-084a-4aea-8034-88a68d3f2533" providerId="ADAL" clId="{FC9ED260-ED45-4383-A6C6-F9ABC477379E}" dt="2021-07-24T03:17:25.715" v="1141"/>
          <ac:inkMkLst>
            <pc:docMk/>
            <pc:sldMk cId="530549270" sldId="270"/>
            <ac:inkMk id="12" creationId="{661409A0-2F8E-41EA-B59B-D755E944246A}"/>
          </ac:inkMkLst>
        </pc:inkChg>
        <pc:inkChg chg="add del mod">
          <ac:chgData name="Sushant" userId="9fb19323-084a-4aea-8034-88a68d3f2533" providerId="ADAL" clId="{FC9ED260-ED45-4383-A6C6-F9ABC477379E}" dt="2021-07-24T03:17:25.709" v="1126"/>
          <ac:inkMkLst>
            <pc:docMk/>
            <pc:sldMk cId="530549270" sldId="270"/>
            <ac:inkMk id="13" creationId="{26FD549F-3522-48F5-B55D-22F34FAD0BA0}"/>
          </ac:inkMkLst>
        </pc:inkChg>
        <pc:inkChg chg="add del mod">
          <ac:chgData name="Sushant" userId="9fb19323-084a-4aea-8034-88a68d3f2533" providerId="ADAL" clId="{FC9ED260-ED45-4383-A6C6-F9ABC477379E}" dt="2021-07-24T03:17:25.713" v="1134"/>
          <ac:inkMkLst>
            <pc:docMk/>
            <pc:sldMk cId="530549270" sldId="270"/>
            <ac:inkMk id="14" creationId="{F2D3C94F-F2A2-41D9-8E2B-EEC08D218571}"/>
          </ac:inkMkLst>
        </pc:inkChg>
        <pc:inkChg chg="add del mod">
          <ac:chgData name="Sushant" userId="9fb19323-084a-4aea-8034-88a68d3f2533" providerId="ADAL" clId="{FC9ED260-ED45-4383-A6C6-F9ABC477379E}" dt="2021-07-24T03:17:25.709" v="1125"/>
          <ac:inkMkLst>
            <pc:docMk/>
            <pc:sldMk cId="530549270" sldId="270"/>
            <ac:inkMk id="15" creationId="{42A61670-D6C0-4B07-BFDB-0E92C68851A4}"/>
          </ac:inkMkLst>
        </pc:inkChg>
        <pc:inkChg chg="add del mod">
          <ac:chgData name="Sushant" userId="9fb19323-084a-4aea-8034-88a68d3f2533" providerId="ADAL" clId="{FC9ED260-ED45-4383-A6C6-F9ABC477379E}" dt="2021-07-24T03:17:25.717" v="1145"/>
          <ac:inkMkLst>
            <pc:docMk/>
            <pc:sldMk cId="530549270" sldId="270"/>
            <ac:inkMk id="16" creationId="{43FE8C18-BAD8-47FB-8412-074BB1D043B2}"/>
          </ac:inkMkLst>
        </pc:inkChg>
        <pc:inkChg chg="add del mod">
          <ac:chgData name="Sushant" userId="9fb19323-084a-4aea-8034-88a68d3f2533" providerId="ADAL" clId="{FC9ED260-ED45-4383-A6C6-F9ABC477379E}" dt="2021-07-24T03:17:25.707" v="1122"/>
          <ac:inkMkLst>
            <pc:docMk/>
            <pc:sldMk cId="530549270" sldId="270"/>
            <ac:inkMk id="17" creationId="{ACD717A0-A4F9-4861-B83A-A0E94ECE24ED}"/>
          </ac:inkMkLst>
        </pc:inkChg>
        <pc:inkChg chg="add del mod">
          <ac:chgData name="Sushant" userId="9fb19323-084a-4aea-8034-88a68d3f2533" providerId="ADAL" clId="{FC9ED260-ED45-4383-A6C6-F9ABC477379E}" dt="2021-07-24T03:17:25.712" v="1132"/>
          <ac:inkMkLst>
            <pc:docMk/>
            <pc:sldMk cId="530549270" sldId="270"/>
            <ac:inkMk id="18" creationId="{71A4DB7D-DBB4-4FE0-957B-4A1A82217D18}"/>
          </ac:inkMkLst>
        </pc:inkChg>
        <pc:inkChg chg="add del mod">
          <ac:chgData name="Sushant" userId="9fb19323-084a-4aea-8034-88a68d3f2533" providerId="ADAL" clId="{FC9ED260-ED45-4383-A6C6-F9ABC477379E}" dt="2021-07-24T03:17:25.718" v="1147"/>
          <ac:inkMkLst>
            <pc:docMk/>
            <pc:sldMk cId="530549270" sldId="270"/>
            <ac:inkMk id="19" creationId="{D5DD9F5F-E6AD-495D-85FD-AEBA2D6E8130}"/>
          </ac:inkMkLst>
        </pc:inkChg>
        <pc:inkChg chg="add del mod">
          <ac:chgData name="Sushant" userId="9fb19323-084a-4aea-8034-88a68d3f2533" providerId="ADAL" clId="{FC9ED260-ED45-4383-A6C6-F9ABC477379E}" dt="2021-07-24T03:17:25.716" v="1142"/>
          <ac:inkMkLst>
            <pc:docMk/>
            <pc:sldMk cId="530549270" sldId="270"/>
            <ac:inkMk id="23" creationId="{6DAE96CE-B61A-4B32-804A-A232B3B5BBFF}"/>
          </ac:inkMkLst>
        </pc:inkChg>
        <pc:inkChg chg="add del mod">
          <ac:chgData name="Sushant" userId="9fb19323-084a-4aea-8034-88a68d3f2533" providerId="ADAL" clId="{FC9ED260-ED45-4383-A6C6-F9ABC477379E}" dt="2021-07-24T03:17:25.710" v="1127"/>
          <ac:inkMkLst>
            <pc:docMk/>
            <pc:sldMk cId="530549270" sldId="270"/>
            <ac:inkMk id="24" creationId="{01916B3F-F4BA-438B-8DE5-DCF93B7E1949}"/>
          </ac:inkMkLst>
        </pc:inkChg>
        <pc:inkChg chg="add del mod">
          <ac:chgData name="Sushant" userId="9fb19323-084a-4aea-8034-88a68d3f2533" providerId="ADAL" clId="{FC9ED260-ED45-4383-A6C6-F9ABC477379E}" dt="2021-07-24T03:17:25.715" v="1140"/>
          <ac:inkMkLst>
            <pc:docMk/>
            <pc:sldMk cId="530549270" sldId="270"/>
            <ac:inkMk id="25" creationId="{38ED2F07-6371-4ED8-A313-6087895FCE74}"/>
          </ac:inkMkLst>
        </pc:inkChg>
        <pc:inkChg chg="add del mod">
          <ac:chgData name="Sushant" userId="9fb19323-084a-4aea-8034-88a68d3f2533" providerId="ADAL" clId="{FC9ED260-ED45-4383-A6C6-F9ABC477379E}" dt="2021-07-24T03:17:25.714" v="1137"/>
          <ac:inkMkLst>
            <pc:docMk/>
            <pc:sldMk cId="530549270" sldId="270"/>
            <ac:inkMk id="26" creationId="{A06AA837-8B03-4189-8E59-5A65B5426FE6}"/>
          </ac:inkMkLst>
        </pc:inkChg>
        <pc:inkChg chg="add del mod">
          <ac:chgData name="Sushant" userId="9fb19323-084a-4aea-8034-88a68d3f2533" providerId="ADAL" clId="{FC9ED260-ED45-4383-A6C6-F9ABC477379E}" dt="2021-07-24T03:17:25.712" v="1133"/>
          <ac:inkMkLst>
            <pc:docMk/>
            <pc:sldMk cId="530549270" sldId="270"/>
            <ac:inkMk id="27" creationId="{5671DB51-31C4-40CE-94F2-90E733805718}"/>
          </ac:inkMkLst>
        </pc:inkChg>
        <pc:inkChg chg="add del mod">
          <ac:chgData name="Sushant" userId="9fb19323-084a-4aea-8034-88a68d3f2533" providerId="ADAL" clId="{FC9ED260-ED45-4383-A6C6-F9ABC477379E}" dt="2021-07-24T03:17:25.715" v="1139"/>
          <ac:inkMkLst>
            <pc:docMk/>
            <pc:sldMk cId="530549270" sldId="270"/>
            <ac:inkMk id="28" creationId="{8263381D-BF7D-4FBE-9417-2E7D65E832CE}"/>
          </ac:inkMkLst>
        </pc:inkChg>
        <pc:inkChg chg="add del mod">
          <ac:chgData name="Sushant" userId="9fb19323-084a-4aea-8034-88a68d3f2533" providerId="ADAL" clId="{FC9ED260-ED45-4383-A6C6-F9ABC477379E}" dt="2021-07-24T03:17:25.707" v="1123"/>
          <ac:inkMkLst>
            <pc:docMk/>
            <pc:sldMk cId="530549270" sldId="270"/>
            <ac:inkMk id="29" creationId="{33202F4E-9AF3-4FFA-A99B-1476AE5D8672}"/>
          </ac:inkMkLst>
        </pc:inkChg>
        <pc:inkChg chg="add del mod">
          <ac:chgData name="Sushant" userId="9fb19323-084a-4aea-8034-88a68d3f2533" providerId="ADAL" clId="{FC9ED260-ED45-4383-A6C6-F9ABC477379E}" dt="2021-07-24T03:17:25.711" v="1131"/>
          <ac:inkMkLst>
            <pc:docMk/>
            <pc:sldMk cId="530549270" sldId="270"/>
            <ac:inkMk id="30" creationId="{34E275E8-C5D6-4E19-8032-9776F1D63645}"/>
          </ac:inkMkLst>
        </pc:inkChg>
        <pc:inkChg chg="add del mod">
          <ac:chgData name="Sushant" userId="9fb19323-084a-4aea-8034-88a68d3f2533" providerId="ADAL" clId="{FC9ED260-ED45-4383-A6C6-F9ABC477379E}" dt="2021-07-24T03:17:25.717" v="1146"/>
          <ac:inkMkLst>
            <pc:docMk/>
            <pc:sldMk cId="530549270" sldId="270"/>
            <ac:inkMk id="33" creationId="{B5779041-C6BE-4FDC-95A0-8BCD12B30448}"/>
          </ac:inkMkLst>
        </pc:inkChg>
        <pc:inkChg chg="add del mod">
          <ac:chgData name="Sushant" userId="9fb19323-084a-4aea-8034-88a68d3f2533" providerId="ADAL" clId="{FC9ED260-ED45-4383-A6C6-F9ABC477379E}" dt="2021-07-24T03:17:25.714" v="1138"/>
          <ac:inkMkLst>
            <pc:docMk/>
            <pc:sldMk cId="530549270" sldId="270"/>
            <ac:inkMk id="34" creationId="{03A7C115-4473-4395-A24F-738A9C966C7C}"/>
          </ac:inkMkLst>
        </pc:inkChg>
        <pc:inkChg chg="add del mod">
          <ac:chgData name="Sushant" userId="9fb19323-084a-4aea-8034-88a68d3f2533" providerId="ADAL" clId="{FC9ED260-ED45-4383-A6C6-F9ABC477379E}" dt="2021-07-24T03:17:25.708" v="1124"/>
          <ac:inkMkLst>
            <pc:docMk/>
            <pc:sldMk cId="530549270" sldId="270"/>
            <ac:inkMk id="35" creationId="{AE32C994-1B94-4DF5-8F83-AB5EF61113F6}"/>
          </ac:inkMkLst>
        </pc:inkChg>
        <pc:inkChg chg="add del mod">
          <ac:chgData name="Sushant" userId="9fb19323-084a-4aea-8034-88a68d3f2533" providerId="ADAL" clId="{FC9ED260-ED45-4383-A6C6-F9ABC477379E}" dt="2021-07-24T03:17:25.710" v="1129"/>
          <ac:inkMkLst>
            <pc:docMk/>
            <pc:sldMk cId="530549270" sldId="270"/>
            <ac:inkMk id="37" creationId="{E3C303BA-0B4C-4E9A-AC8D-54CD7C44DC2F}"/>
          </ac:inkMkLst>
        </pc:inkChg>
        <pc:inkChg chg="add del mod">
          <ac:chgData name="Sushant" userId="9fb19323-084a-4aea-8034-88a68d3f2533" providerId="ADAL" clId="{FC9ED260-ED45-4383-A6C6-F9ABC477379E}" dt="2021-07-24T03:17:25.713" v="1135"/>
          <ac:inkMkLst>
            <pc:docMk/>
            <pc:sldMk cId="530549270" sldId="270"/>
            <ac:inkMk id="38" creationId="{AF7999DD-EA59-434E-94F0-524F0C04C3B4}"/>
          </ac:inkMkLst>
        </pc:inkChg>
        <pc:inkChg chg="add del mod">
          <ac:chgData name="Sushant" userId="9fb19323-084a-4aea-8034-88a68d3f2533" providerId="ADAL" clId="{FC9ED260-ED45-4383-A6C6-F9ABC477379E}" dt="2021-07-24T03:17:25.713" v="1136"/>
          <ac:inkMkLst>
            <pc:docMk/>
            <pc:sldMk cId="530549270" sldId="270"/>
            <ac:inkMk id="39" creationId="{D6E622BA-761D-4CCD-B304-8E4D965BA0AD}"/>
          </ac:inkMkLst>
        </pc:inkChg>
        <pc:inkChg chg="add del mod">
          <ac:chgData name="Sushant" userId="9fb19323-084a-4aea-8034-88a68d3f2533" providerId="ADAL" clId="{FC9ED260-ED45-4383-A6C6-F9ABC477379E}" dt="2021-07-24T03:17:25.710" v="1128"/>
          <ac:inkMkLst>
            <pc:docMk/>
            <pc:sldMk cId="530549270" sldId="270"/>
            <ac:inkMk id="41" creationId="{97C78CE2-2CEB-45C1-8CE9-9B71A6282FDC}"/>
          </ac:inkMkLst>
        </pc:inkChg>
        <pc:inkChg chg="add del mod">
          <ac:chgData name="Sushant" userId="9fb19323-084a-4aea-8034-88a68d3f2533" providerId="ADAL" clId="{FC9ED260-ED45-4383-A6C6-F9ABC477379E}" dt="2021-07-24T03:17:25.716" v="1143"/>
          <ac:inkMkLst>
            <pc:docMk/>
            <pc:sldMk cId="530549270" sldId="270"/>
            <ac:inkMk id="42" creationId="{D2B620F3-B188-4530-8EB1-4F022651046E}"/>
          </ac:inkMkLst>
        </pc:inkChg>
        <pc:inkChg chg="add">
          <ac:chgData name="Sushant" userId="9fb19323-084a-4aea-8034-88a68d3f2533" providerId="ADAL" clId="{FC9ED260-ED45-4383-A6C6-F9ABC477379E}" dt="2021-07-24T03:15:28.179" v="1114" actId="9405"/>
          <ac:inkMkLst>
            <pc:docMk/>
            <pc:sldMk cId="530549270" sldId="270"/>
            <ac:inkMk id="44" creationId="{8225FF20-C27D-49D8-96EE-6E9E6762FF5C}"/>
          </ac:inkMkLst>
        </pc:inkChg>
        <pc:inkChg chg="add del">
          <ac:chgData name="Sushant" userId="9fb19323-084a-4aea-8034-88a68d3f2533" providerId="ADAL" clId="{FC9ED260-ED45-4383-A6C6-F9ABC477379E}" dt="2021-07-24T05:14:20.044" v="7050" actId="478"/>
          <ac:inkMkLst>
            <pc:docMk/>
            <pc:sldMk cId="530549270" sldId="270"/>
            <ac:inkMk id="45" creationId="{A87BEF86-8343-4F67-8A39-9C0741BD3C95}"/>
          </ac:inkMkLst>
        </pc:inkChg>
        <pc:inkChg chg="add del">
          <ac:chgData name="Sushant" userId="9fb19323-084a-4aea-8034-88a68d3f2533" providerId="ADAL" clId="{FC9ED260-ED45-4383-A6C6-F9ABC477379E}" dt="2021-07-24T05:14:20.044" v="7050" actId="478"/>
          <ac:inkMkLst>
            <pc:docMk/>
            <pc:sldMk cId="530549270" sldId="270"/>
            <ac:inkMk id="46" creationId="{D921297E-F061-41B7-B13D-8767375A33CE}"/>
          </ac:inkMkLst>
        </pc:inkChg>
        <pc:inkChg chg="add">
          <ac:chgData name="Sushant" userId="9fb19323-084a-4aea-8034-88a68d3f2533" providerId="ADAL" clId="{FC9ED260-ED45-4383-A6C6-F9ABC477379E}" dt="2021-07-24T03:15:31.947" v="1117" actId="9405"/>
          <ac:inkMkLst>
            <pc:docMk/>
            <pc:sldMk cId="530549270" sldId="270"/>
            <ac:inkMk id="47" creationId="{7D06A463-9E2F-4B81-A37E-DAA0901859F8}"/>
          </ac:inkMkLst>
        </pc:inkChg>
      </pc:sldChg>
      <pc:sldChg chg="addSp delSp modSp add">
        <pc:chgData name="Sushant" userId="9fb19323-084a-4aea-8034-88a68d3f2533" providerId="ADAL" clId="{FC9ED260-ED45-4383-A6C6-F9ABC477379E}" dt="2021-07-24T05:40:14.779" v="8055" actId="1076"/>
        <pc:sldMkLst>
          <pc:docMk/>
          <pc:sldMk cId="2990059952" sldId="271"/>
        </pc:sldMkLst>
        <pc:spChg chg="mod">
          <ac:chgData name="Sushant" userId="9fb19323-084a-4aea-8034-88a68d3f2533" providerId="ADAL" clId="{FC9ED260-ED45-4383-A6C6-F9ABC477379E}" dt="2021-07-24T04:06:57.685" v="3401" actId="948"/>
          <ac:spMkLst>
            <pc:docMk/>
            <pc:sldMk cId="2990059952" sldId="271"/>
            <ac:spMk id="2" creationId="{2CA625AD-735D-47C0-91A1-2B3C21EAAC10}"/>
          </ac:spMkLst>
        </pc:spChg>
        <pc:spChg chg="mod">
          <ac:chgData name="Sushant" userId="9fb19323-084a-4aea-8034-88a68d3f2533" providerId="ADAL" clId="{FC9ED260-ED45-4383-A6C6-F9ABC477379E}" dt="2021-07-24T04:00:20.815" v="3178" actId="403"/>
          <ac:spMkLst>
            <pc:docMk/>
            <pc:sldMk cId="2990059952" sldId="271"/>
            <ac:spMk id="4" creationId="{C8F71EB8-AD0D-4348-90A1-BE6ACF466C66}"/>
          </ac:spMkLst>
        </pc:spChg>
        <pc:spChg chg="mod">
          <ac:chgData name="Sushant" userId="9fb19323-084a-4aea-8034-88a68d3f2533" providerId="ADAL" clId="{FC9ED260-ED45-4383-A6C6-F9ABC477379E}" dt="2021-07-24T04:00:20.815" v="3178" actId="403"/>
          <ac:spMkLst>
            <pc:docMk/>
            <pc:sldMk cId="2990059952" sldId="271"/>
            <ac:spMk id="5" creationId="{B62D0B95-944F-49E9-BE19-D97B855CA661}"/>
          </ac:spMkLst>
        </pc:spChg>
        <pc:spChg chg="mod">
          <ac:chgData name="Sushant" userId="9fb19323-084a-4aea-8034-88a68d3f2533" providerId="ADAL" clId="{FC9ED260-ED45-4383-A6C6-F9ABC477379E}" dt="2021-07-24T04:00:20.815" v="3178" actId="403"/>
          <ac:spMkLst>
            <pc:docMk/>
            <pc:sldMk cId="2990059952" sldId="271"/>
            <ac:spMk id="6" creationId="{72CB0455-9821-411A-81C2-3F548A504C87}"/>
          </ac:spMkLst>
        </pc:spChg>
        <pc:spChg chg="mod">
          <ac:chgData name="Sushant" userId="9fb19323-084a-4aea-8034-88a68d3f2533" providerId="ADAL" clId="{FC9ED260-ED45-4383-A6C6-F9ABC477379E}" dt="2021-07-24T04:00:20.815" v="3178" actId="403"/>
          <ac:spMkLst>
            <pc:docMk/>
            <pc:sldMk cId="2990059952" sldId="271"/>
            <ac:spMk id="7" creationId="{D024EE30-8D36-4A05-B036-F8F3376CF5C9}"/>
          </ac:spMkLst>
        </pc:spChg>
        <pc:spChg chg="mod">
          <ac:chgData name="Sushant" userId="9fb19323-084a-4aea-8034-88a68d3f2533" providerId="ADAL" clId="{FC9ED260-ED45-4383-A6C6-F9ABC477379E}" dt="2021-07-24T04:15:38.942" v="3681" actId="20577"/>
          <ac:spMkLst>
            <pc:docMk/>
            <pc:sldMk cId="2990059952" sldId="271"/>
            <ac:spMk id="8" creationId="{274AE32F-B60E-4322-8665-7566CA987D24}"/>
          </ac:spMkLst>
        </pc:spChg>
        <pc:spChg chg="mod">
          <ac:chgData name="Sushant" userId="9fb19323-084a-4aea-8034-88a68d3f2533" providerId="ADAL" clId="{FC9ED260-ED45-4383-A6C6-F9ABC477379E}" dt="2021-07-24T05:39:31.988" v="8049" actId="404"/>
          <ac:spMkLst>
            <pc:docMk/>
            <pc:sldMk cId="2990059952" sldId="271"/>
            <ac:spMk id="9" creationId="{0F707817-3D7C-4331-921F-12A391D92C32}"/>
          </ac:spMkLst>
        </pc:spChg>
        <pc:spChg chg="mod">
          <ac:chgData name="Sushant" userId="9fb19323-084a-4aea-8034-88a68d3f2533" providerId="ADAL" clId="{FC9ED260-ED45-4383-A6C6-F9ABC477379E}" dt="2021-07-24T05:39:31.988" v="8049" actId="404"/>
          <ac:spMkLst>
            <pc:docMk/>
            <pc:sldMk cId="2990059952" sldId="271"/>
            <ac:spMk id="10" creationId="{677275E8-2BF6-4E4D-A304-F243FC1666C9}"/>
          </ac:spMkLst>
        </pc:spChg>
        <pc:spChg chg="mod">
          <ac:chgData name="Sushant" userId="9fb19323-084a-4aea-8034-88a68d3f2533" providerId="ADAL" clId="{FC9ED260-ED45-4383-A6C6-F9ABC477379E}" dt="2021-07-24T05:39:31.988" v="8049" actId="404"/>
          <ac:spMkLst>
            <pc:docMk/>
            <pc:sldMk cId="2990059952" sldId="271"/>
            <ac:spMk id="11" creationId="{92EDE873-5715-4D35-B424-516F08DECAC4}"/>
          </ac:spMkLst>
        </pc:spChg>
        <pc:spChg chg="mod">
          <ac:chgData name="Sushant" userId="9fb19323-084a-4aea-8034-88a68d3f2533" providerId="ADAL" clId="{FC9ED260-ED45-4383-A6C6-F9ABC477379E}" dt="2021-07-24T05:39:31.988" v="8049" actId="404"/>
          <ac:spMkLst>
            <pc:docMk/>
            <pc:sldMk cId="2990059952" sldId="271"/>
            <ac:spMk id="12" creationId="{36C16C93-9611-4F14-A12F-4D5089C08AE6}"/>
          </ac:spMkLst>
        </pc:spChg>
        <pc:spChg chg="mod">
          <ac:chgData name="Sushant" userId="9fb19323-084a-4aea-8034-88a68d3f2533" providerId="ADAL" clId="{FC9ED260-ED45-4383-A6C6-F9ABC477379E}" dt="2021-07-24T05:39:31.988" v="8049" actId="404"/>
          <ac:spMkLst>
            <pc:docMk/>
            <pc:sldMk cId="2990059952" sldId="271"/>
            <ac:spMk id="13" creationId="{5CB80ADE-4D2F-4EF6-9AF5-2F506D6F6366}"/>
          </ac:spMkLst>
        </pc:spChg>
        <pc:spChg chg="add del mod">
          <ac:chgData name="Sushant" userId="9fb19323-084a-4aea-8034-88a68d3f2533" providerId="ADAL" clId="{FC9ED260-ED45-4383-A6C6-F9ABC477379E}" dt="2021-07-24T04:16:16.060" v="3771" actId="1076"/>
          <ac:spMkLst>
            <pc:docMk/>
            <pc:sldMk cId="2990059952" sldId="271"/>
            <ac:spMk id="14" creationId="{AA0CE0E1-AE91-466F-ADE2-F41C10B3D9BD}"/>
          </ac:spMkLst>
        </pc:spChg>
        <pc:spChg chg="add del mod">
          <ac:chgData name="Sushant" userId="9fb19323-084a-4aea-8034-88a68d3f2533" providerId="ADAL" clId="{FC9ED260-ED45-4383-A6C6-F9ABC477379E}" dt="2021-07-24T03:56:54.508" v="3175" actId="478"/>
          <ac:spMkLst>
            <pc:docMk/>
            <pc:sldMk cId="2990059952" sldId="271"/>
            <ac:spMk id="15" creationId="{0D7B2F34-4393-4D1A-B684-BC8B1715D785}"/>
          </ac:spMkLst>
        </pc:spChg>
        <pc:spChg chg="add del mod modVis">
          <ac:chgData name="Sushant" userId="9fb19323-084a-4aea-8034-88a68d3f2533" providerId="ADAL" clId="{FC9ED260-ED45-4383-A6C6-F9ABC477379E}" dt="2021-07-24T03:36:37.374" v="2334"/>
          <ac:spMkLst>
            <pc:docMk/>
            <pc:sldMk cId="2990059952" sldId="271"/>
            <ac:spMk id="17" creationId="{39C88839-2D34-4577-BF55-DA7DA1B8FE1A}"/>
          </ac:spMkLst>
        </pc:spChg>
        <pc:spChg chg="add del mod modVis">
          <ac:chgData name="Sushant" userId="9fb19323-084a-4aea-8034-88a68d3f2533" providerId="ADAL" clId="{FC9ED260-ED45-4383-A6C6-F9ABC477379E}" dt="2021-07-24T03:36:39.055" v="2383"/>
          <ac:spMkLst>
            <pc:docMk/>
            <pc:sldMk cId="2990059952" sldId="271"/>
            <ac:spMk id="18" creationId="{D67C0EF3-B607-4E59-A916-28A2CC5ABEEA}"/>
          </ac:spMkLst>
        </pc:spChg>
        <pc:spChg chg="add del mod modVis">
          <ac:chgData name="Sushant" userId="9fb19323-084a-4aea-8034-88a68d3f2533" providerId="ADAL" clId="{FC9ED260-ED45-4383-A6C6-F9ABC477379E}" dt="2021-07-24T03:36:41.292" v="2430"/>
          <ac:spMkLst>
            <pc:docMk/>
            <pc:sldMk cId="2990059952" sldId="271"/>
            <ac:spMk id="19" creationId="{275E8577-AE2A-43A1-B3F6-DF47A38B1E29}"/>
          </ac:spMkLst>
        </pc:spChg>
        <pc:spChg chg="add del mod modVis">
          <ac:chgData name="Sushant" userId="9fb19323-084a-4aea-8034-88a68d3f2533" providerId="ADAL" clId="{FC9ED260-ED45-4383-A6C6-F9ABC477379E}" dt="2021-07-24T03:36:43.036" v="2476"/>
          <ac:spMkLst>
            <pc:docMk/>
            <pc:sldMk cId="2990059952" sldId="271"/>
            <ac:spMk id="20" creationId="{8D33DBAA-34D8-4A8B-B063-9C8C91256D9F}"/>
          </ac:spMkLst>
        </pc:spChg>
        <pc:spChg chg="add del mod modVis">
          <ac:chgData name="Sushant" userId="9fb19323-084a-4aea-8034-88a68d3f2533" providerId="ADAL" clId="{FC9ED260-ED45-4383-A6C6-F9ABC477379E}" dt="2021-07-24T03:36:43.706" v="2519"/>
          <ac:spMkLst>
            <pc:docMk/>
            <pc:sldMk cId="2990059952" sldId="271"/>
            <ac:spMk id="21" creationId="{968054A2-F400-4909-AD85-94F4F302DD5B}"/>
          </ac:spMkLst>
        </pc:spChg>
        <pc:spChg chg="add del mod modVis">
          <ac:chgData name="Sushant" userId="9fb19323-084a-4aea-8034-88a68d3f2533" providerId="ADAL" clId="{FC9ED260-ED45-4383-A6C6-F9ABC477379E}" dt="2021-07-24T03:36:44.905" v="2563"/>
          <ac:spMkLst>
            <pc:docMk/>
            <pc:sldMk cId="2990059952" sldId="271"/>
            <ac:spMk id="22" creationId="{AE1D20FD-1970-4E30-895C-3AA68E13E5FB}"/>
          </ac:spMkLst>
        </pc:spChg>
        <pc:spChg chg="add del mod modVis">
          <ac:chgData name="Sushant" userId="9fb19323-084a-4aea-8034-88a68d3f2533" providerId="ADAL" clId="{FC9ED260-ED45-4383-A6C6-F9ABC477379E}" dt="2021-07-24T03:36:45.467" v="2606"/>
          <ac:spMkLst>
            <pc:docMk/>
            <pc:sldMk cId="2990059952" sldId="271"/>
            <ac:spMk id="23" creationId="{CE82589D-7825-4CAA-8DAF-5639E42D6A10}"/>
          </ac:spMkLst>
        </pc:spChg>
        <pc:spChg chg="add del mod modVis">
          <ac:chgData name="Sushant" userId="9fb19323-084a-4aea-8034-88a68d3f2533" providerId="ADAL" clId="{FC9ED260-ED45-4383-A6C6-F9ABC477379E}" dt="2021-07-24T03:36:46.138" v="2650"/>
          <ac:spMkLst>
            <pc:docMk/>
            <pc:sldMk cId="2990059952" sldId="271"/>
            <ac:spMk id="24" creationId="{CE68A240-13AD-4443-BF3E-0E4328D985B6}"/>
          </ac:spMkLst>
        </pc:spChg>
        <pc:spChg chg="add">
          <ac:chgData name="Sushant" userId="9fb19323-084a-4aea-8034-88a68d3f2533" providerId="ADAL" clId="{FC9ED260-ED45-4383-A6C6-F9ABC477379E}" dt="2021-07-24T03:36:55.186" v="2653"/>
          <ac:spMkLst>
            <pc:docMk/>
            <pc:sldMk cId="2990059952" sldId="271"/>
            <ac:spMk id="25" creationId="{9D96A21C-A84B-40F3-8495-34773DF73D11}"/>
          </ac:spMkLst>
        </pc:spChg>
        <pc:spChg chg="add del mod modVis">
          <ac:chgData name="Sushant" userId="9fb19323-084a-4aea-8034-88a68d3f2533" providerId="ADAL" clId="{FC9ED260-ED45-4383-A6C6-F9ABC477379E}" dt="2021-07-24T03:37:54.241" v="2696"/>
          <ac:spMkLst>
            <pc:docMk/>
            <pc:sldMk cId="2990059952" sldId="271"/>
            <ac:spMk id="26" creationId="{95BCC3DA-A01D-4651-B0B3-3F02798E82E8}"/>
          </ac:spMkLst>
        </pc:spChg>
        <pc:spChg chg="add del mod modVis">
          <ac:chgData name="Sushant" userId="9fb19323-084a-4aea-8034-88a68d3f2533" providerId="ADAL" clId="{FC9ED260-ED45-4383-A6C6-F9ABC477379E}" dt="2021-07-24T03:37:55.515" v="2743"/>
          <ac:spMkLst>
            <pc:docMk/>
            <pc:sldMk cId="2990059952" sldId="271"/>
            <ac:spMk id="27" creationId="{31C68BBE-4517-4033-8962-ECED273C0AB4}"/>
          </ac:spMkLst>
        </pc:spChg>
        <pc:spChg chg="add del mod">
          <ac:chgData name="Sushant" userId="9fb19323-084a-4aea-8034-88a68d3f2533" providerId="ADAL" clId="{FC9ED260-ED45-4383-A6C6-F9ABC477379E}" dt="2021-07-24T03:56:13.463" v="3165" actId="478"/>
          <ac:spMkLst>
            <pc:docMk/>
            <pc:sldMk cId="2990059952" sldId="271"/>
            <ac:spMk id="28" creationId="{44148CCD-54C5-45AB-AE6B-7BA2D2385D47}"/>
          </ac:spMkLst>
        </pc:spChg>
        <pc:spChg chg="add del mod">
          <ac:chgData name="Sushant" userId="9fb19323-084a-4aea-8034-88a68d3f2533" providerId="ADAL" clId="{FC9ED260-ED45-4383-A6C6-F9ABC477379E}" dt="2021-07-24T03:56:13.463" v="3165" actId="478"/>
          <ac:spMkLst>
            <pc:docMk/>
            <pc:sldMk cId="2990059952" sldId="271"/>
            <ac:spMk id="29" creationId="{79A4D125-7F9F-47A2-8186-87D81AF1DDC1}"/>
          </ac:spMkLst>
        </pc:spChg>
        <pc:spChg chg="add del mod">
          <ac:chgData name="Sushant" userId="9fb19323-084a-4aea-8034-88a68d3f2533" providerId="ADAL" clId="{FC9ED260-ED45-4383-A6C6-F9ABC477379E}" dt="2021-07-24T03:56:13.463" v="3165" actId="478"/>
          <ac:spMkLst>
            <pc:docMk/>
            <pc:sldMk cId="2990059952" sldId="271"/>
            <ac:spMk id="30" creationId="{FA8662FD-54D4-41F6-B47B-BDFEAD1F2A43}"/>
          </ac:spMkLst>
        </pc:spChg>
        <pc:spChg chg="add del mod">
          <ac:chgData name="Sushant" userId="9fb19323-084a-4aea-8034-88a68d3f2533" providerId="ADAL" clId="{FC9ED260-ED45-4383-A6C6-F9ABC477379E}" dt="2021-07-24T03:56:13.463" v="3165" actId="478"/>
          <ac:spMkLst>
            <pc:docMk/>
            <pc:sldMk cId="2990059952" sldId="271"/>
            <ac:spMk id="31" creationId="{4FB41C71-5B1D-40DF-8F96-BE67E024C6AE}"/>
          </ac:spMkLst>
        </pc:spChg>
        <pc:spChg chg="add del mod">
          <ac:chgData name="Sushant" userId="9fb19323-084a-4aea-8034-88a68d3f2533" providerId="ADAL" clId="{FC9ED260-ED45-4383-A6C6-F9ABC477379E}" dt="2021-07-24T03:45:13.462" v="2900" actId="478"/>
          <ac:spMkLst>
            <pc:docMk/>
            <pc:sldMk cId="2990059952" sldId="271"/>
            <ac:spMk id="32" creationId="{FECA220F-40A6-40D1-BE2A-301C3E8E09C8}"/>
          </ac:spMkLst>
        </pc:spChg>
        <pc:spChg chg="add del">
          <ac:chgData name="Sushant" userId="9fb19323-084a-4aea-8034-88a68d3f2533" providerId="ADAL" clId="{FC9ED260-ED45-4383-A6C6-F9ABC477379E}" dt="2021-07-24T03:54:59.558" v="3145"/>
          <ac:spMkLst>
            <pc:docMk/>
            <pc:sldMk cId="2990059952" sldId="271"/>
            <ac:spMk id="33" creationId="{A6CED8AB-D449-4737-8C3B-3D83E8F4EF09}"/>
          </ac:spMkLst>
        </pc:spChg>
        <pc:spChg chg="add del mod">
          <ac:chgData name="Sushant" userId="9fb19323-084a-4aea-8034-88a68d3f2533" providerId="ADAL" clId="{FC9ED260-ED45-4383-A6C6-F9ABC477379E}" dt="2021-07-24T03:56:13.463" v="3165" actId="478"/>
          <ac:spMkLst>
            <pc:docMk/>
            <pc:sldMk cId="2990059952" sldId="271"/>
            <ac:spMk id="34" creationId="{9B2F4517-988F-4775-B83D-2E85C1CF15FD}"/>
          </ac:spMkLst>
        </pc:spChg>
        <pc:spChg chg="add del mod">
          <ac:chgData name="Sushant" userId="9fb19323-084a-4aea-8034-88a68d3f2533" providerId="ADAL" clId="{FC9ED260-ED45-4383-A6C6-F9ABC477379E}" dt="2021-07-24T03:56:28.619" v="3168" actId="478"/>
          <ac:spMkLst>
            <pc:docMk/>
            <pc:sldMk cId="2990059952" sldId="271"/>
            <ac:spMk id="35" creationId="{829A2F61-B997-4942-BB3E-B42166140744}"/>
          </ac:spMkLst>
        </pc:spChg>
        <pc:spChg chg="add del mod">
          <ac:chgData name="Sushant" userId="9fb19323-084a-4aea-8034-88a68d3f2533" providerId="ADAL" clId="{FC9ED260-ED45-4383-A6C6-F9ABC477379E}" dt="2021-07-24T04:16:16.060" v="3771" actId="1076"/>
          <ac:spMkLst>
            <pc:docMk/>
            <pc:sldMk cId="2990059952" sldId="271"/>
            <ac:spMk id="36" creationId="{718D1454-A222-47E7-8CA5-80CCF9BAF387}"/>
          </ac:spMkLst>
        </pc:spChg>
        <pc:spChg chg="add del mod modVis">
          <ac:chgData name="Sushant" userId="9fb19323-084a-4aea-8034-88a68d3f2533" providerId="ADAL" clId="{FC9ED260-ED45-4383-A6C6-F9ABC477379E}" dt="2021-07-24T04:06:55.971" v="3393"/>
          <ac:spMkLst>
            <pc:docMk/>
            <pc:sldMk cId="2990059952" sldId="271"/>
            <ac:spMk id="37" creationId="{AEA5AA1A-8146-4453-AF77-4D5C123577C1}"/>
          </ac:spMkLst>
        </pc:spChg>
        <pc:spChg chg="add del mod modVis">
          <ac:chgData name="Sushant" userId="9fb19323-084a-4aea-8034-88a68d3f2533" providerId="ADAL" clId="{FC9ED260-ED45-4383-A6C6-F9ABC477379E}" dt="2021-07-24T04:06:57.736" v="3440"/>
          <ac:spMkLst>
            <pc:docMk/>
            <pc:sldMk cId="2990059952" sldId="271"/>
            <ac:spMk id="38" creationId="{2C6ADD32-8584-4C5F-AE16-ECB31D27F408}"/>
          </ac:spMkLst>
        </pc:spChg>
        <pc:spChg chg="add mod">
          <ac:chgData name="Sushant" userId="9fb19323-084a-4aea-8034-88a68d3f2533" providerId="ADAL" clId="{FC9ED260-ED45-4383-A6C6-F9ABC477379E}" dt="2021-07-24T05:39:44.436" v="8050" actId="1076"/>
          <ac:spMkLst>
            <pc:docMk/>
            <pc:sldMk cId="2990059952" sldId="271"/>
            <ac:spMk id="39" creationId="{501A4302-D292-43F4-8E86-34315A5D7F51}"/>
          </ac:spMkLst>
        </pc:spChg>
        <pc:spChg chg="add del mod">
          <ac:chgData name="Sushant" userId="9fb19323-084a-4aea-8034-88a68d3f2533" providerId="ADAL" clId="{FC9ED260-ED45-4383-A6C6-F9ABC477379E}" dt="2021-07-24T04:15:03.274" v="3594" actId="478"/>
          <ac:spMkLst>
            <pc:docMk/>
            <pc:sldMk cId="2990059952" sldId="271"/>
            <ac:spMk id="40" creationId="{9A795327-7375-4A53-A62A-002D1E3AEF5C}"/>
          </ac:spMkLst>
        </pc:spChg>
        <pc:spChg chg="add del mod">
          <ac:chgData name="Sushant" userId="9fb19323-084a-4aea-8034-88a68d3f2533" providerId="ADAL" clId="{FC9ED260-ED45-4383-A6C6-F9ABC477379E}" dt="2021-07-24T04:17:06.068" v="3778" actId="478"/>
          <ac:spMkLst>
            <pc:docMk/>
            <pc:sldMk cId="2990059952" sldId="271"/>
            <ac:spMk id="43" creationId="{DDBF6EA5-41EB-44B6-ACF7-0814224F6955}"/>
          </ac:spMkLst>
        </pc:spChg>
        <pc:spChg chg="add mod">
          <ac:chgData name="Sushant" userId="9fb19323-084a-4aea-8034-88a68d3f2533" providerId="ADAL" clId="{FC9ED260-ED45-4383-A6C6-F9ABC477379E}" dt="2021-07-24T05:39:44.436" v="8050" actId="1076"/>
          <ac:spMkLst>
            <pc:docMk/>
            <pc:sldMk cId="2990059952" sldId="271"/>
            <ac:spMk id="44" creationId="{577FA176-043F-4F32-8EE8-B5F3A5187609}"/>
          </ac:spMkLst>
        </pc:spChg>
        <pc:spChg chg="add mod">
          <ac:chgData name="Sushant" userId="9fb19323-084a-4aea-8034-88a68d3f2533" providerId="ADAL" clId="{FC9ED260-ED45-4383-A6C6-F9ABC477379E}" dt="2021-07-24T05:40:14.779" v="8055" actId="1076"/>
          <ac:spMkLst>
            <pc:docMk/>
            <pc:sldMk cId="2990059952" sldId="271"/>
            <ac:spMk id="45" creationId="{B3D8A197-910E-4517-B67A-FC775246E9D2}"/>
          </ac:spMkLst>
        </pc:spChg>
        <pc:grpChg chg="add del mod">
          <ac:chgData name="Sushant" userId="9fb19323-084a-4aea-8034-88a68d3f2533" providerId="ADAL" clId="{FC9ED260-ED45-4383-A6C6-F9ABC477379E}" dt="2021-07-24T04:16:16.060" v="3771" actId="1076"/>
          <ac:grpSpMkLst>
            <pc:docMk/>
            <pc:sldMk cId="2990059952" sldId="271"/>
            <ac:grpSpMk id="3" creationId="{C10BB6A3-88F2-4826-914A-D590A1E29966}"/>
          </ac:grpSpMkLst>
        </pc:grpChg>
        <pc:graphicFrameChg chg="add mod ord modVis">
          <ac:chgData name="Sushant" userId="9fb19323-084a-4aea-8034-88a68d3f2533" providerId="ADAL" clId="{FC9ED260-ED45-4383-A6C6-F9ABC477379E}" dt="2021-07-24T04:06:57.740" v="3442"/>
          <ac:graphicFrameMkLst>
            <pc:docMk/>
            <pc:sldMk cId="2990059952" sldId="271"/>
            <ac:graphicFrameMk id="16" creationId="{92A7AC87-3410-4055-866E-6AD2A67511A0}"/>
          </ac:graphicFrameMkLst>
        </pc:graphicFrameChg>
        <pc:graphicFrameChg chg="mod modGraphic">
          <ac:chgData name="Sushant" userId="9fb19323-084a-4aea-8034-88a68d3f2533" providerId="ADAL" clId="{FC9ED260-ED45-4383-A6C6-F9ABC477379E}" dt="2021-07-24T05:39:44.436" v="8050" actId="1076"/>
          <ac:graphicFrameMkLst>
            <pc:docMk/>
            <pc:sldMk cId="2990059952" sldId="271"/>
            <ac:graphicFrameMk id="17" creationId="{FF3EFBED-1903-CD47-B258-C63FCAD27E8E}"/>
          </ac:graphicFrameMkLst>
        </pc:graphicFrameChg>
        <pc:picChg chg="add del mod">
          <ac:chgData name="Sushant" userId="9fb19323-084a-4aea-8034-88a68d3f2533" providerId="ADAL" clId="{FC9ED260-ED45-4383-A6C6-F9ABC477379E}" dt="2021-07-24T04:06:04.677" v="3337"/>
          <ac:picMkLst>
            <pc:docMk/>
            <pc:sldMk cId="2990059952" sldId="271"/>
            <ac:picMk id="2050" creationId="{DFE4A4FF-5ECB-4C7A-BAD2-BB8F457A6CC6}"/>
          </ac:picMkLst>
        </pc:picChg>
        <pc:cxnChg chg="add del mod">
          <ac:chgData name="Sushant" userId="9fb19323-084a-4aea-8034-88a68d3f2533" providerId="ADAL" clId="{FC9ED260-ED45-4383-A6C6-F9ABC477379E}" dt="2021-07-24T04:16:30.895" v="3773" actId="478"/>
          <ac:cxnSpMkLst>
            <pc:docMk/>
            <pc:sldMk cId="2990059952" sldId="271"/>
            <ac:cxnSpMk id="42" creationId="{FE5FB81E-BEA3-4703-953F-BB33E0308CC0}"/>
          </ac:cxnSpMkLst>
        </pc:cxnChg>
      </pc:sldChg>
      <pc:sldChg chg="addSp delSp modSp add">
        <pc:chgData name="Sushant" userId="9fb19323-084a-4aea-8034-88a68d3f2533" providerId="ADAL" clId="{FC9ED260-ED45-4383-A6C6-F9ABC477379E}" dt="2021-07-24T05:16:04.329" v="7055" actId="20577"/>
        <pc:sldMkLst>
          <pc:docMk/>
          <pc:sldMk cId="3212288735" sldId="272"/>
        </pc:sldMkLst>
        <pc:spChg chg="mod">
          <ac:chgData name="Sushant" userId="9fb19323-084a-4aea-8034-88a68d3f2533" providerId="ADAL" clId="{FC9ED260-ED45-4383-A6C6-F9ABC477379E}" dt="2021-07-24T04:07:03.940" v="3446" actId="948"/>
          <ac:spMkLst>
            <pc:docMk/>
            <pc:sldMk cId="3212288735" sldId="272"/>
            <ac:spMk id="2" creationId="{2CA625AD-735D-47C0-91A1-2B3C21EAAC10}"/>
          </ac:spMkLst>
        </pc:spChg>
        <pc:spChg chg="del">
          <ac:chgData name="Sushant" userId="9fb19323-084a-4aea-8034-88a68d3f2533" providerId="ADAL" clId="{FC9ED260-ED45-4383-A6C6-F9ABC477379E}" dt="2021-07-24T04:07:06.943" v="3488" actId="478"/>
          <ac:spMkLst>
            <pc:docMk/>
            <pc:sldMk cId="3212288735" sldId="272"/>
            <ac:spMk id="14" creationId="{AA0CE0E1-AE91-466F-ADE2-F41C10B3D9BD}"/>
          </ac:spMkLst>
        </pc:spChg>
        <pc:spChg chg="add del mod modVis">
          <ac:chgData name="Sushant" userId="9fb19323-084a-4aea-8034-88a68d3f2533" providerId="ADAL" clId="{FC9ED260-ED45-4383-A6C6-F9ABC477379E}" dt="2021-07-24T04:07:03.997" v="3485"/>
          <ac:spMkLst>
            <pc:docMk/>
            <pc:sldMk cId="3212288735" sldId="272"/>
            <ac:spMk id="15" creationId="{4B811096-8922-4ADB-9659-96C9CBE8E012}"/>
          </ac:spMkLst>
        </pc:spChg>
        <pc:spChg chg="add mod">
          <ac:chgData name="Sushant" userId="9fb19323-084a-4aea-8034-88a68d3f2533" providerId="ADAL" clId="{FC9ED260-ED45-4383-A6C6-F9ABC477379E}" dt="2021-07-24T04:45:57.909" v="4643" actId="1076"/>
          <ac:spMkLst>
            <pc:docMk/>
            <pc:sldMk cId="3212288735" sldId="272"/>
            <ac:spMk id="17" creationId="{99ACED47-B4D1-4772-B0A6-D006A27803FF}"/>
          </ac:spMkLst>
        </pc:spChg>
        <pc:spChg chg="add del mod">
          <ac:chgData name="Sushant" userId="9fb19323-084a-4aea-8034-88a68d3f2533" providerId="ADAL" clId="{FC9ED260-ED45-4383-A6C6-F9ABC477379E}" dt="2021-07-24T05:10:19.635" v="6103"/>
          <ac:spMkLst>
            <pc:docMk/>
            <pc:sldMk cId="3212288735" sldId="272"/>
            <ac:spMk id="19" creationId="{75F9C428-E4CE-4520-873C-99D422A32C9F}"/>
          </ac:spMkLst>
        </pc:spChg>
        <pc:spChg chg="add mod">
          <ac:chgData name="Sushant" userId="9fb19323-084a-4aea-8034-88a68d3f2533" providerId="ADAL" clId="{FC9ED260-ED45-4383-A6C6-F9ABC477379E}" dt="2021-07-24T04:45:57.909" v="4643" actId="1076"/>
          <ac:spMkLst>
            <pc:docMk/>
            <pc:sldMk cId="3212288735" sldId="272"/>
            <ac:spMk id="22" creationId="{3865B671-84FB-4DD0-ADA8-0C497CD8CAF3}"/>
          </ac:spMkLst>
        </pc:spChg>
        <pc:spChg chg="add mod">
          <ac:chgData name="Sushant" userId="9fb19323-084a-4aea-8034-88a68d3f2533" providerId="ADAL" clId="{FC9ED260-ED45-4383-A6C6-F9ABC477379E}" dt="2021-07-24T04:45:57.909" v="4643" actId="1076"/>
          <ac:spMkLst>
            <pc:docMk/>
            <pc:sldMk cId="3212288735" sldId="272"/>
            <ac:spMk id="24" creationId="{E678D491-16E3-44C5-A45B-7E6C4171BB56}"/>
          </ac:spMkLst>
        </pc:spChg>
        <pc:spChg chg="add mod">
          <ac:chgData name="Sushant" userId="9fb19323-084a-4aea-8034-88a68d3f2533" providerId="ADAL" clId="{FC9ED260-ED45-4383-A6C6-F9ABC477379E}" dt="2021-07-24T04:45:57.909" v="4643" actId="1076"/>
          <ac:spMkLst>
            <pc:docMk/>
            <pc:sldMk cId="3212288735" sldId="272"/>
            <ac:spMk id="26" creationId="{E021DF7A-8C3A-481A-98DE-40AAF7D41C81}"/>
          </ac:spMkLst>
        </pc:spChg>
        <pc:spChg chg="add mod">
          <ac:chgData name="Sushant" userId="9fb19323-084a-4aea-8034-88a68d3f2533" providerId="ADAL" clId="{FC9ED260-ED45-4383-A6C6-F9ABC477379E}" dt="2021-07-24T04:45:57.909" v="4643" actId="1076"/>
          <ac:spMkLst>
            <pc:docMk/>
            <pc:sldMk cId="3212288735" sldId="272"/>
            <ac:spMk id="27" creationId="{E1F557C8-2D81-49DB-ADFF-F17730E48F94}"/>
          </ac:spMkLst>
        </pc:spChg>
        <pc:spChg chg="add mod">
          <ac:chgData name="Sushant" userId="9fb19323-084a-4aea-8034-88a68d3f2533" providerId="ADAL" clId="{FC9ED260-ED45-4383-A6C6-F9ABC477379E}" dt="2021-07-24T04:45:57.909" v="4643" actId="1076"/>
          <ac:spMkLst>
            <pc:docMk/>
            <pc:sldMk cId="3212288735" sldId="272"/>
            <ac:spMk id="28" creationId="{B9534F8C-E282-47DB-826E-414201B7523C}"/>
          </ac:spMkLst>
        </pc:spChg>
        <pc:spChg chg="add mod">
          <ac:chgData name="Sushant" userId="9fb19323-084a-4aea-8034-88a68d3f2533" providerId="ADAL" clId="{FC9ED260-ED45-4383-A6C6-F9ABC477379E}" dt="2021-07-24T05:16:04.329" v="7055" actId="20577"/>
          <ac:spMkLst>
            <pc:docMk/>
            <pc:sldMk cId="3212288735" sldId="272"/>
            <ac:spMk id="29" creationId="{1FAD8920-934A-4090-99E4-86A17AF315F7}"/>
          </ac:spMkLst>
        </pc:spChg>
        <pc:spChg chg="add mod">
          <ac:chgData name="Sushant" userId="9fb19323-084a-4aea-8034-88a68d3f2533" providerId="ADAL" clId="{FC9ED260-ED45-4383-A6C6-F9ABC477379E}" dt="2021-07-24T04:45:57.909" v="4643" actId="1076"/>
          <ac:spMkLst>
            <pc:docMk/>
            <pc:sldMk cId="3212288735" sldId="272"/>
            <ac:spMk id="30" creationId="{C9AB8BD6-565A-4BF3-BDE5-8C21B1CDFEED}"/>
          </ac:spMkLst>
        </pc:spChg>
        <pc:spChg chg="del">
          <ac:chgData name="Sushant" userId="9fb19323-084a-4aea-8034-88a68d3f2533" providerId="ADAL" clId="{FC9ED260-ED45-4383-A6C6-F9ABC477379E}" dt="2021-07-24T04:07:06.943" v="3488" actId="478"/>
          <ac:spMkLst>
            <pc:docMk/>
            <pc:sldMk cId="3212288735" sldId="272"/>
            <ac:spMk id="36" creationId="{718D1454-A222-47E7-8CA5-80CCF9BAF387}"/>
          </ac:spMkLst>
        </pc:spChg>
        <pc:grpChg chg="del">
          <ac:chgData name="Sushant" userId="9fb19323-084a-4aea-8034-88a68d3f2533" providerId="ADAL" clId="{FC9ED260-ED45-4383-A6C6-F9ABC477379E}" dt="2021-07-24T04:07:06.943" v="3488" actId="478"/>
          <ac:grpSpMkLst>
            <pc:docMk/>
            <pc:sldMk cId="3212288735" sldId="272"/>
            <ac:grpSpMk id="3" creationId="{C10BB6A3-88F2-4826-914A-D590A1E29966}"/>
          </ac:grpSpMkLst>
        </pc:grpChg>
        <pc:graphicFrameChg chg="mod modGraphic">
          <ac:chgData name="Sushant" userId="9fb19323-084a-4aea-8034-88a68d3f2533" providerId="ADAL" clId="{FC9ED260-ED45-4383-A6C6-F9ABC477379E}" dt="2021-07-24T04:22:16.020" v="3928" actId="1076"/>
          <ac:graphicFrameMkLst>
            <pc:docMk/>
            <pc:sldMk cId="3212288735" sldId="272"/>
            <ac:graphicFrameMk id="15" creationId="{026DB79E-7FC1-D04C-980E-45EFDB1161A5}"/>
          </ac:graphicFrameMkLst>
        </pc:graphicFrameChg>
        <pc:graphicFrameChg chg="mod">
          <ac:chgData name="Sushant" userId="9fb19323-084a-4aea-8034-88a68d3f2533" providerId="ADAL" clId="{FC9ED260-ED45-4383-A6C6-F9ABC477379E}" dt="2021-07-24T04:07:04.003" v="3487"/>
          <ac:graphicFrameMkLst>
            <pc:docMk/>
            <pc:sldMk cId="3212288735" sldId="272"/>
            <ac:graphicFrameMk id="16" creationId="{92A7AC87-3410-4055-866E-6AD2A67511A0}"/>
          </ac:graphicFrameMkLst>
        </pc:graphicFrameChg>
        <pc:picChg chg="add del mod">
          <ac:chgData name="Sushant" userId="9fb19323-084a-4aea-8034-88a68d3f2533" providerId="ADAL" clId="{FC9ED260-ED45-4383-A6C6-F9ABC477379E}" dt="2021-07-24T04:46:01.037" v="4644" actId="478"/>
          <ac:picMkLst>
            <pc:docMk/>
            <pc:sldMk cId="3212288735" sldId="272"/>
            <ac:picMk id="20" creationId="{3FCCD57B-252B-4D14-B8BD-7B87D8F9BB92}"/>
          </ac:picMkLst>
        </pc:picChg>
        <pc:picChg chg="add del mod">
          <ac:chgData name="Sushant" userId="9fb19323-084a-4aea-8034-88a68d3f2533" providerId="ADAL" clId="{FC9ED260-ED45-4383-A6C6-F9ABC477379E}" dt="2021-07-24T04:46:01.970" v="4645" actId="478"/>
          <ac:picMkLst>
            <pc:docMk/>
            <pc:sldMk cId="3212288735" sldId="272"/>
            <ac:picMk id="21" creationId="{4094C8D8-80B0-46A9-A317-3BC7157814B9}"/>
          </ac:picMkLst>
        </pc:picChg>
      </pc:sldChg>
      <pc:sldChg chg="addSp delSp modSp add del modTransition">
        <pc:chgData name="Sushant" userId="9fb19323-084a-4aea-8034-88a68d3f2533" providerId="ADAL" clId="{FC9ED260-ED45-4383-A6C6-F9ABC477379E}" dt="2021-07-24T05:02:44.561" v="5123" actId="2696"/>
        <pc:sldMkLst>
          <pc:docMk/>
          <pc:sldMk cId="1793870567" sldId="273"/>
        </pc:sldMkLst>
        <pc:spChg chg="mod">
          <ac:chgData name="Sushant" userId="9fb19323-084a-4aea-8034-88a68d3f2533" providerId="ADAL" clId="{FC9ED260-ED45-4383-A6C6-F9ABC477379E}" dt="2021-07-24T04:47:22.109" v="4784" actId="948"/>
          <ac:spMkLst>
            <pc:docMk/>
            <pc:sldMk cId="1793870567" sldId="273"/>
            <ac:spMk id="2" creationId="{CB065210-1A36-4F56-AF3C-07E79E63AD70}"/>
          </ac:spMkLst>
        </pc:spChg>
        <pc:spChg chg="add del mod modVis">
          <ac:chgData name="Sushant" userId="9fb19323-084a-4aea-8034-88a68d3f2533" providerId="ADAL" clId="{FC9ED260-ED45-4383-A6C6-F9ABC477379E}" dt="2021-07-24T04:47:17.194" v="4700"/>
          <ac:spMkLst>
            <pc:docMk/>
            <pc:sldMk cId="1793870567" sldId="273"/>
            <ac:spMk id="3" creationId="{B34BFA35-9CDC-43B0-A919-50DCC4A701DE}"/>
          </ac:spMkLst>
        </pc:spChg>
        <pc:spChg chg="add del mod modVis">
          <ac:chgData name="Sushant" userId="9fb19323-084a-4aea-8034-88a68d3f2533" providerId="ADAL" clId="{FC9ED260-ED45-4383-A6C6-F9ABC477379E}" dt="2021-07-24T04:47:21.155" v="4777"/>
          <ac:spMkLst>
            <pc:docMk/>
            <pc:sldMk cId="1793870567" sldId="273"/>
            <ac:spMk id="5" creationId="{E0365A60-11F5-4967-896C-3D0C2E6116A7}"/>
          </ac:spMkLst>
        </pc:spChg>
        <pc:spChg chg="add del mod modVis">
          <ac:chgData name="Sushant" userId="9fb19323-084a-4aea-8034-88a68d3f2533" providerId="ADAL" clId="{FC9ED260-ED45-4383-A6C6-F9ABC477379E}" dt="2021-07-24T04:47:22.165" v="4823"/>
          <ac:spMkLst>
            <pc:docMk/>
            <pc:sldMk cId="1793870567" sldId="273"/>
            <ac:spMk id="6" creationId="{D15C352B-3BAF-481F-99BD-7B846D054F7E}"/>
          </ac:spMkLst>
        </pc:spChg>
        <pc:spChg chg="add">
          <ac:chgData name="Sushant" userId="9fb19323-084a-4aea-8034-88a68d3f2533" providerId="ADAL" clId="{FC9ED260-ED45-4383-A6C6-F9ABC477379E}" dt="2021-07-24T04:47:27.867" v="4826"/>
          <ac:spMkLst>
            <pc:docMk/>
            <pc:sldMk cId="1793870567" sldId="273"/>
            <ac:spMk id="7" creationId="{92E8DA09-B09A-4681-8BB7-9D6D7E9C7DE3}"/>
          </ac:spMkLst>
        </pc:spChg>
        <pc:spChg chg="add del mod">
          <ac:chgData name="Sushant" userId="9fb19323-084a-4aea-8034-88a68d3f2533" providerId="ADAL" clId="{FC9ED260-ED45-4383-A6C6-F9ABC477379E}" dt="2021-07-24T04:50:53.128" v="4898" actId="478"/>
          <ac:spMkLst>
            <pc:docMk/>
            <pc:sldMk cId="1793870567" sldId="273"/>
            <ac:spMk id="9" creationId="{D89F773B-5349-43ED-9C6E-B0E8DB81A4F4}"/>
          </ac:spMkLst>
        </pc:spChg>
        <pc:spChg chg="add mod">
          <ac:chgData name="Sushant" userId="9fb19323-084a-4aea-8034-88a68d3f2533" providerId="ADAL" clId="{FC9ED260-ED45-4383-A6C6-F9ABC477379E}" dt="2021-07-24T04:51:03.561" v="4899" actId="1076"/>
          <ac:spMkLst>
            <pc:docMk/>
            <pc:sldMk cId="1793870567" sldId="273"/>
            <ac:spMk id="10" creationId="{DB5D2C1B-42B3-4FB2-8838-0F0F912ED651}"/>
          </ac:spMkLst>
        </pc:spChg>
        <pc:spChg chg="add mod">
          <ac:chgData name="Sushant" userId="9fb19323-084a-4aea-8034-88a68d3f2533" providerId="ADAL" clId="{FC9ED260-ED45-4383-A6C6-F9ABC477379E}" dt="2021-07-24T04:51:03.561" v="4899" actId="1076"/>
          <ac:spMkLst>
            <pc:docMk/>
            <pc:sldMk cId="1793870567" sldId="273"/>
            <ac:spMk id="11" creationId="{4284EC63-8583-4F49-8B82-FE198EC17D47}"/>
          </ac:spMkLst>
        </pc:spChg>
        <pc:graphicFrameChg chg="add mod ord modVis">
          <ac:chgData name="Sushant" userId="9fb19323-084a-4aea-8034-88a68d3f2533" providerId="ADAL" clId="{FC9ED260-ED45-4383-A6C6-F9ABC477379E}" dt="2021-07-24T04:47:22.169" v="4825"/>
          <ac:graphicFrameMkLst>
            <pc:docMk/>
            <pc:sldMk cId="1793870567" sldId="273"/>
            <ac:graphicFrameMk id="4" creationId="{8F4CAF31-172D-42C6-BBF8-4DB907C5DDFC}"/>
          </ac:graphicFrameMkLst>
        </pc:graphicFrameChg>
        <pc:picChg chg="add mod">
          <ac:chgData name="Sushant" userId="9fb19323-084a-4aea-8034-88a68d3f2533" providerId="ADAL" clId="{FC9ED260-ED45-4383-A6C6-F9ABC477379E}" dt="2021-07-24T04:51:10.987" v="4900" actId="14100"/>
          <ac:picMkLst>
            <pc:docMk/>
            <pc:sldMk cId="1793870567" sldId="273"/>
            <ac:picMk id="8" creationId="{D11B7407-0682-4A1A-8A73-510793E0B5D0}"/>
          </ac:picMkLst>
        </pc:picChg>
      </pc:sldChg>
      <pc:sldChg chg="addSp delSp modSp add">
        <pc:chgData name="Sushant" userId="9fb19323-084a-4aea-8034-88a68d3f2533" providerId="ADAL" clId="{FC9ED260-ED45-4383-A6C6-F9ABC477379E}" dt="2021-07-24T05:06:30.617" v="6100" actId="1076"/>
        <pc:sldMkLst>
          <pc:docMk/>
          <pc:sldMk cId="3297654295" sldId="274"/>
        </pc:sldMkLst>
        <pc:spChg chg="mod ord">
          <ac:chgData name="Sushant" userId="9fb19323-084a-4aea-8034-88a68d3f2533" providerId="ADAL" clId="{FC9ED260-ED45-4383-A6C6-F9ABC477379E}" dt="2021-07-24T05:04:43.563" v="6047" actId="948"/>
          <ac:spMkLst>
            <pc:docMk/>
            <pc:sldMk cId="3297654295" sldId="274"/>
            <ac:spMk id="2" creationId="{D5A540CE-49AA-43CF-B90D-38FC5BAB1C23}"/>
          </ac:spMkLst>
        </pc:spChg>
        <pc:spChg chg="add mod ord">
          <ac:chgData name="Sushant" userId="9fb19323-084a-4aea-8034-88a68d3f2533" providerId="ADAL" clId="{FC9ED260-ED45-4383-A6C6-F9ABC477379E}" dt="2021-07-24T05:04:38.107" v="6045" actId="1076"/>
          <ac:spMkLst>
            <pc:docMk/>
            <pc:sldMk cId="3297654295" sldId="274"/>
            <ac:spMk id="5" creationId="{B7B54DA1-D418-4079-BE44-9B92EF8A6D52}"/>
          </ac:spMkLst>
        </pc:spChg>
        <pc:spChg chg="add mod ord">
          <ac:chgData name="Sushant" userId="9fb19323-084a-4aea-8034-88a68d3f2533" providerId="ADAL" clId="{FC9ED260-ED45-4383-A6C6-F9ABC477379E}" dt="2021-07-24T05:04:38.107" v="6045" actId="1076"/>
          <ac:spMkLst>
            <pc:docMk/>
            <pc:sldMk cId="3297654295" sldId="274"/>
            <ac:spMk id="7" creationId="{1F18C05F-199A-4C12-A908-689CE9F375F7}"/>
          </ac:spMkLst>
        </pc:spChg>
        <pc:spChg chg="add del mod modVis">
          <ac:chgData name="Sushant" userId="9fb19323-084a-4aea-8034-88a68d3f2533" providerId="ADAL" clId="{FC9ED260-ED45-4383-A6C6-F9ABC477379E}" dt="2021-07-24T05:02:54.123" v="5180"/>
          <ac:spMkLst>
            <pc:docMk/>
            <pc:sldMk cId="3297654295" sldId="274"/>
            <ac:spMk id="8" creationId="{696CF115-D7B6-48D0-9465-2DE15F14C060}"/>
          </ac:spMkLst>
        </pc:spChg>
        <pc:spChg chg="add del mod modVis">
          <ac:chgData name="Sushant" userId="9fb19323-084a-4aea-8034-88a68d3f2533" providerId="ADAL" clId="{FC9ED260-ED45-4383-A6C6-F9ABC477379E}" dt="2021-07-24T05:02:56.288" v="5223"/>
          <ac:spMkLst>
            <pc:docMk/>
            <pc:sldMk cId="3297654295" sldId="274"/>
            <ac:spMk id="9" creationId="{FCB3398E-EF5B-4F5D-8E1E-A75ADA372257}"/>
          </ac:spMkLst>
        </pc:spChg>
        <pc:spChg chg="add del mod modVis">
          <ac:chgData name="Sushant" userId="9fb19323-084a-4aea-8034-88a68d3f2533" providerId="ADAL" clId="{FC9ED260-ED45-4383-A6C6-F9ABC477379E}" dt="2021-07-24T05:02:57.205" v="5266"/>
          <ac:spMkLst>
            <pc:docMk/>
            <pc:sldMk cId="3297654295" sldId="274"/>
            <ac:spMk id="10" creationId="{BA8AB481-87A2-4427-9633-1DF95871D690}"/>
          </ac:spMkLst>
        </pc:spChg>
        <pc:spChg chg="add del mod modVis">
          <ac:chgData name="Sushant" userId="9fb19323-084a-4aea-8034-88a68d3f2533" providerId="ADAL" clId="{FC9ED260-ED45-4383-A6C6-F9ABC477379E}" dt="2021-07-24T05:02:58.340" v="5310"/>
          <ac:spMkLst>
            <pc:docMk/>
            <pc:sldMk cId="3297654295" sldId="274"/>
            <ac:spMk id="11" creationId="{A497097F-94C2-4E43-AD4E-E0DFDD6AD631}"/>
          </ac:spMkLst>
        </pc:spChg>
        <pc:spChg chg="add del mod modVis">
          <ac:chgData name="Sushant" userId="9fb19323-084a-4aea-8034-88a68d3f2533" providerId="ADAL" clId="{FC9ED260-ED45-4383-A6C6-F9ABC477379E}" dt="2021-07-24T05:03:00.220" v="5358"/>
          <ac:spMkLst>
            <pc:docMk/>
            <pc:sldMk cId="3297654295" sldId="274"/>
            <ac:spMk id="12" creationId="{40E89107-F902-48D3-B31E-392FCF0EA32C}"/>
          </ac:spMkLst>
        </pc:spChg>
        <pc:spChg chg="add del mod modVis">
          <ac:chgData name="Sushant" userId="9fb19323-084a-4aea-8034-88a68d3f2533" providerId="ADAL" clId="{FC9ED260-ED45-4383-A6C6-F9ABC477379E}" dt="2021-07-24T05:03:28.535" v="5418"/>
          <ac:spMkLst>
            <pc:docMk/>
            <pc:sldMk cId="3297654295" sldId="274"/>
            <ac:spMk id="13" creationId="{2A43AF5F-9BDF-4CA2-BBC7-8D29611E7BDD}"/>
          </ac:spMkLst>
        </pc:spChg>
        <pc:spChg chg="add del mod modVis">
          <ac:chgData name="Sushant" userId="9fb19323-084a-4aea-8034-88a68d3f2533" providerId="ADAL" clId="{FC9ED260-ED45-4383-A6C6-F9ABC477379E}" dt="2021-07-24T05:03:29.366" v="5463"/>
          <ac:spMkLst>
            <pc:docMk/>
            <pc:sldMk cId="3297654295" sldId="274"/>
            <ac:spMk id="14" creationId="{052E96C7-808D-4A62-8FD2-137E619AE13B}"/>
          </ac:spMkLst>
        </pc:spChg>
        <pc:spChg chg="add del mod modVis">
          <ac:chgData name="Sushant" userId="9fb19323-084a-4aea-8034-88a68d3f2533" providerId="ADAL" clId="{FC9ED260-ED45-4383-A6C6-F9ABC477379E}" dt="2021-07-24T05:03:30.320" v="5507"/>
          <ac:spMkLst>
            <pc:docMk/>
            <pc:sldMk cId="3297654295" sldId="274"/>
            <ac:spMk id="15" creationId="{BB40AD32-29A9-4895-A51F-B8FD7CC9C462}"/>
          </ac:spMkLst>
        </pc:spChg>
        <pc:spChg chg="add del mod modVis">
          <ac:chgData name="Sushant" userId="9fb19323-084a-4aea-8034-88a68d3f2533" providerId="ADAL" clId="{FC9ED260-ED45-4383-A6C6-F9ABC477379E}" dt="2021-07-24T05:03:36.772" v="5568"/>
          <ac:spMkLst>
            <pc:docMk/>
            <pc:sldMk cId="3297654295" sldId="274"/>
            <ac:spMk id="16" creationId="{0904183B-EFF4-41BD-B8BD-B8BB8DABCEE8}"/>
          </ac:spMkLst>
        </pc:spChg>
        <pc:spChg chg="add del mod modVis">
          <ac:chgData name="Sushant" userId="9fb19323-084a-4aea-8034-88a68d3f2533" providerId="ADAL" clId="{FC9ED260-ED45-4383-A6C6-F9ABC477379E}" dt="2021-07-24T05:03:37.805" v="5614"/>
          <ac:spMkLst>
            <pc:docMk/>
            <pc:sldMk cId="3297654295" sldId="274"/>
            <ac:spMk id="17" creationId="{83CD5994-AE23-4FBD-9834-3E0CE7A007CB}"/>
          </ac:spMkLst>
        </pc:spChg>
        <pc:spChg chg="add del mod modVis">
          <ac:chgData name="Sushant" userId="9fb19323-084a-4aea-8034-88a68d3f2533" providerId="ADAL" clId="{FC9ED260-ED45-4383-A6C6-F9ABC477379E}" dt="2021-07-24T05:03:49.391" v="5658"/>
          <ac:spMkLst>
            <pc:docMk/>
            <pc:sldMk cId="3297654295" sldId="274"/>
            <ac:spMk id="18" creationId="{24B0014D-CFFA-4D7B-BD0B-46DE6A9B9C08}"/>
          </ac:spMkLst>
        </pc:spChg>
        <pc:spChg chg="add del mod modVis">
          <ac:chgData name="Sushant" userId="9fb19323-084a-4aea-8034-88a68d3f2533" providerId="ADAL" clId="{FC9ED260-ED45-4383-A6C6-F9ABC477379E}" dt="2021-07-24T05:03:50.866" v="5702"/>
          <ac:spMkLst>
            <pc:docMk/>
            <pc:sldMk cId="3297654295" sldId="274"/>
            <ac:spMk id="19" creationId="{42B8121E-F50E-456C-9511-D443F7235F5B}"/>
          </ac:spMkLst>
        </pc:spChg>
        <pc:spChg chg="add del mod modVis">
          <ac:chgData name="Sushant" userId="9fb19323-084a-4aea-8034-88a68d3f2533" providerId="ADAL" clId="{FC9ED260-ED45-4383-A6C6-F9ABC477379E}" dt="2021-07-24T05:03:54.490" v="5746"/>
          <ac:spMkLst>
            <pc:docMk/>
            <pc:sldMk cId="3297654295" sldId="274"/>
            <ac:spMk id="20" creationId="{07552BBE-3045-4839-9396-400047668C75}"/>
          </ac:spMkLst>
        </pc:spChg>
        <pc:spChg chg="add del mod modVis">
          <ac:chgData name="Sushant" userId="9fb19323-084a-4aea-8034-88a68d3f2533" providerId="ADAL" clId="{FC9ED260-ED45-4383-A6C6-F9ABC477379E}" dt="2021-07-24T05:03:57.601" v="5801"/>
          <ac:spMkLst>
            <pc:docMk/>
            <pc:sldMk cId="3297654295" sldId="274"/>
            <ac:spMk id="21" creationId="{3C9777AF-4CFB-41E5-B767-43C2BCB0A4EC}"/>
          </ac:spMkLst>
        </pc:spChg>
        <pc:spChg chg="add del mod modVis">
          <ac:chgData name="Sushant" userId="9fb19323-084a-4aea-8034-88a68d3f2533" providerId="ADAL" clId="{FC9ED260-ED45-4383-A6C6-F9ABC477379E}" dt="2021-07-24T05:03:58.867" v="5845"/>
          <ac:spMkLst>
            <pc:docMk/>
            <pc:sldMk cId="3297654295" sldId="274"/>
            <ac:spMk id="22" creationId="{4A6AE1D7-413A-4947-86B3-60D78C420D0A}"/>
          </ac:spMkLst>
        </pc:spChg>
        <pc:spChg chg="add del mod modVis">
          <ac:chgData name="Sushant" userId="9fb19323-084a-4aea-8034-88a68d3f2533" providerId="ADAL" clId="{FC9ED260-ED45-4383-A6C6-F9ABC477379E}" dt="2021-07-24T05:04:02.735" v="5899"/>
          <ac:spMkLst>
            <pc:docMk/>
            <pc:sldMk cId="3297654295" sldId="274"/>
            <ac:spMk id="23" creationId="{2571C07D-5969-4D45-A55C-2EC3FF14705D}"/>
          </ac:spMkLst>
        </pc:spChg>
        <pc:spChg chg="add del mod modVis">
          <ac:chgData name="Sushant" userId="9fb19323-084a-4aea-8034-88a68d3f2533" providerId="ADAL" clId="{FC9ED260-ED45-4383-A6C6-F9ABC477379E}" dt="2021-07-24T05:04:05.416" v="5952"/>
          <ac:spMkLst>
            <pc:docMk/>
            <pc:sldMk cId="3297654295" sldId="274"/>
            <ac:spMk id="24" creationId="{A0EC0EB1-BCFA-4E02-BBBE-C72A8E9D2248}"/>
          </ac:spMkLst>
        </pc:spChg>
        <pc:spChg chg="add del mod modVis">
          <ac:chgData name="Sushant" userId="9fb19323-084a-4aea-8034-88a68d3f2533" providerId="ADAL" clId="{FC9ED260-ED45-4383-A6C6-F9ABC477379E}" dt="2021-07-24T05:04:06.873" v="5995"/>
          <ac:spMkLst>
            <pc:docMk/>
            <pc:sldMk cId="3297654295" sldId="274"/>
            <ac:spMk id="25" creationId="{BAB023CA-5EF5-432D-AE2A-85244DE80565}"/>
          </ac:spMkLst>
        </pc:spChg>
        <pc:spChg chg="add del mod modVis">
          <ac:chgData name="Sushant" userId="9fb19323-084a-4aea-8034-88a68d3f2533" providerId="ADAL" clId="{FC9ED260-ED45-4383-A6C6-F9ABC477379E}" dt="2021-07-24T05:04:08.044" v="6038"/>
          <ac:spMkLst>
            <pc:docMk/>
            <pc:sldMk cId="3297654295" sldId="274"/>
            <ac:spMk id="26" creationId="{84ACE676-C0FC-4830-BC5C-5E1C09505CD2}"/>
          </ac:spMkLst>
        </pc:spChg>
        <pc:spChg chg="add">
          <ac:chgData name="Sushant" userId="9fb19323-084a-4aea-8034-88a68d3f2533" providerId="ADAL" clId="{FC9ED260-ED45-4383-A6C6-F9ABC477379E}" dt="2021-07-24T05:04:14.799" v="6041"/>
          <ac:spMkLst>
            <pc:docMk/>
            <pc:sldMk cId="3297654295" sldId="274"/>
            <ac:spMk id="27" creationId="{B897CEBE-899F-4DCC-BF18-84BFB0487E40}"/>
          </ac:spMkLst>
        </pc:spChg>
        <pc:spChg chg="add del mod modVis">
          <ac:chgData name="Sushant" userId="9fb19323-084a-4aea-8034-88a68d3f2533" providerId="ADAL" clId="{FC9ED260-ED45-4383-A6C6-F9ABC477379E}" dt="2021-07-24T05:04:43.637" v="6086"/>
          <ac:spMkLst>
            <pc:docMk/>
            <pc:sldMk cId="3297654295" sldId="274"/>
            <ac:spMk id="28" creationId="{46696EF0-10BC-4FAE-896D-0A6E2454DAAA}"/>
          </ac:spMkLst>
        </pc:spChg>
        <pc:graphicFrameChg chg="add mod ord modGraphic">
          <ac:chgData name="Sushant" userId="9fb19323-084a-4aea-8034-88a68d3f2533" providerId="ADAL" clId="{FC9ED260-ED45-4383-A6C6-F9ABC477379E}" dt="2021-07-24T05:05:29.316" v="6094" actId="1076"/>
          <ac:graphicFrameMkLst>
            <pc:docMk/>
            <pc:sldMk cId="3297654295" sldId="274"/>
            <ac:graphicFrameMk id="4" creationId="{0D772831-94D6-4AD2-854D-098C8E21FD84}"/>
          </ac:graphicFrameMkLst>
        </pc:graphicFrameChg>
        <pc:graphicFrameChg chg="add mod ord modVis">
          <ac:chgData name="Sushant" userId="9fb19323-084a-4aea-8034-88a68d3f2533" providerId="ADAL" clId="{FC9ED260-ED45-4383-A6C6-F9ABC477379E}" dt="2021-07-24T05:04:43.640" v="6088"/>
          <ac:graphicFrameMkLst>
            <pc:docMk/>
            <pc:sldMk cId="3297654295" sldId="274"/>
            <ac:graphicFrameMk id="6" creationId="{AEA452E8-EDEA-4C27-B203-CDA113312086}"/>
          </ac:graphicFrameMkLst>
        </pc:graphicFrameChg>
        <pc:picChg chg="add mod ord">
          <ac:chgData name="Sushant" userId="9fb19323-084a-4aea-8034-88a68d3f2533" providerId="ADAL" clId="{FC9ED260-ED45-4383-A6C6-F9ABC477379E}" dt="2021-07-24T05:04:38.107" v="6045" actId="1076"/>
          <ac:picMkLst>
            <pc:docMk/>
            <pc:sldMk cId="3297654295" sldId="274"/>
            <ac:picMk id="3" creationId="{F86B79C6-ED4A-48DB-A0C2-D12CAC4E0B54}"/>
          </ac:picMkLst>
        </pc:picChg>
        <pc:picChg chg="add mod">
          <ac:chgData name="Sushant" userId="9fb19323-084a-4aea-8034-88a68d3f2533" providerId="ADAL" clId="{FC9ED260-ED45-4383-A6C6-F9ABC477379E}" dt="2021-07-24T05:06:22.176" v="6098" actId="1076"/>
          <ac:picMkLst>
            <pc:docMk/>
            <pc:sldMk cId="3297654295" sldId="274"/>
            <ac:picMk id="29" creationId="{0AEB9B8C-6098-4BE1-BC2B-0D0871B16BB6}"/>
          </ac:picMkLst>
        </pc:picChg>
        <pc:picChg chg="add mod">
          <ac:chgData name="Sushant" userId="9fb19323-084a-4aea-8034-88a68d3f2533" providerId="ADAL" clId="{FC9ED260-ED45-4383-A6C6-F9ABC477379E}" dt="2021-07-24T05:06:25.939" v="6099" actId="1076"/>
          <ac:picMkLst>
            <pc:docMk/>
            <pc:sldMk cId="3297654295" sldId="274"/>
            <ac:picMk id="30" creationId="{3D5CCBDF-6935-4A41-96CE-6F01C69D4F0F}"/>
          </ac:picMkLst>
        </pc:picChg>
        <pc:picChg chg="add mod">
          <ac:chgData name="Sushant" userId="9fb19323-084a-4aea-8034-88a68d3f2533" providerId="ADAL" clId="{FC9ED260-ED45-4383-A6C6-F9ABC477379E}" dt="2021-07-24T05:06:30.617" v="6100" actId="1076"/>
          <ac:picMkLst>
            <pc:docMk/>
            <pc:sldMk cId="3297654295" sldId="274"/>
            <ac:picMk id="31" creationId="{4696C4D8-E177-4872-A2D6-C05F0D20FE22}"/>
          </ac:picMkLst>
        </pc:picChg>
      </pc:sldChg>
      <pc:sldChg chg="addSp delSp modSp add modNotesTx">
        <pc:chgData name="Sushant" userId="9fb19323-084a-4aea-8034-88a68d3f2533" providerId="ADAL" clId="{FC9ED260-ED45-4383-A6C6-F9ABC477379E}" dt="2021-07-24T05:48:35.793" v="9063" actId="20577"/>
        <pc:sldMkLst>
          <pc:docMk/>
          <pc:sldMk cId="2251132479" sldId="275"/>
        </pc:sldMkLst>
        <pc:spChg chg="mod ord">
          <ac:chgData name="Sushant" userId="9fb19323-084a-4aea-8034-88a68d3f2533" providerId="ADAL" clId="{FC9ED260-ED45-4383-A6C6-F9ABC477379E}" dt="2021-07-24T05:30:27.425" v="7928"/>
          <ac:spMkLst>
            <pc:docMk/>
            <pc:sldMk cId="2251132479" sldId="275"/>
            <ac:spMk id="2" creationId="{CA903832-EF79-4F63-A465-B4772C5863FC}"/>
          </ac:spMkLst>
        </pc:spChg>
        <pc:spChg chg="add mod ord">
          <ac:chgData name="Sushant" userId="9fb19323-084a-4aea-8034-88a68d3f2533" providerId="ADAL" clId="{FC9ED260-ED45-4383-A6C6-F9ABC477379E}" dt="2021-07-24T05:30:27.425" v="7930"/>
          <ac:spMkLst>
            <pc:docMk/>
            <pc:sldMk cId="2251132479" sldId="275"/>
            <ac:spMk id="3" creationId="{006543D4-D8F5-4E2D-8F62-B39A17DA0A13}"/>
          </ac:spMkLst>
        </pc:spChg>
        <pc:spChg chg="add del mod modVis">
          <ac:chgData name="Sushant" userId="9fb19323-084a-4aea-8034-88a68d3f2533" providerId="ADAL" clId="{FC9ED260-ED45-4383-A6C6-F9ABC477379E}" dt="2021-07-24T05:11:00.223" v="6161"/>
          <ac:spMkLst>
            <pc:docMk/>
            <pc:sldMk cId="2251132479" sldId="275"/>
            <ac:spMk id="4" creationId="{B1E77901-07BC-475D-8D3C-C0558E606DBD}"/>
          </ac:spMkLst>
        </pc:spChg>
        <pc:spChg chg="add del mod modVis">
          <ac:chgData name="Sushant" userId="9fb19323-084a-4aea-8034-88a68d3f2533" providerId="ADAL" clId="{FC9ED260-ED45-4383-A6C6-F9ABC477379E}" dt="2021-07-24T05:11:04.270" v="6219"/>
          <ac:spMkLst>
            <pc:docMk/>
            <pc:sldMk cId="2251132479" sldId="275"/>
            <ac:spMk id="6" creationId="{D0B4531F-0790-4281-83D4-4247B58F8EB1}"/>
          </ac:spMkLst>
        </pc:spChg>
        <pc:spChg chg="add del mod modVis">
          <ac:chgData name="Sushant" userId="9fb19323-084a-4aea-8034-88a68d3f2533" providerId="ADAL" clId="{FC9ED260-ED45-4383-A6C6-F9ABC477379E}" dt="2021-07-24T05:11:05.069" v="6263"/>
          <ac:spMkLst>
            <pc:docMk/>
            <pc:sldMk cId="2251132479" sldId="275"/>
            <ac:spMk id="7" creationId="{9130A869-9097-4BA9-B29D-CF8A3F2391B3}"/>
          </ac:spMkLst>
        </pc:spChg>
        <pc:spChg chg="add del mod modVis">
          <ac:chgData name="Sushant" userId="9fb19323-084a-4aea-8034-88a68d3f2533" providerId="ADAL" clId="{FC9ED260-ED45-4383-A6C6-F9ABC477379E}" dt="2021-07-24T05:11:06.955" v="6309"/>
          <ac:spMkLst>
            <pc:docMk/>
            <pc:sldMk cId="2251132479" sldId="275"/>
            <ac:spMk id="8" creationId="{BAB2E0CD-322B-4B04-B876-F65524505DAD}"/>
          </ac:spMkLst>
        </pc:spChg>
        <pc:spChg chg="add del mod modVis">
          <ac:chgData name="Sushant" userId="9fb19323-084a-4aea-8034-88a68d3f2533" providerId="ADAL" clId="{FC9ED260-ED45-4383-A6C6-F9ABC477379E}" dt="2021-07-24T05:11:10.319" v="6364"/>
          <ac:spMkLst>
            <pc:docMk/>
            <pc:sldMk cId="2251132479" sldId="275"/>
            <ac:spMk id="9" creationId="{89B36FCC-5700-4F4F-AA33-BD30401A5BFF}"/>
          </ac:spMkLst>
        </pc:spChg>
        <pc:spChg chg="add del mod modVis">
          <ac:chgData name="Sushant" userId="9fb19323-084a-4aea-8034-88a68d3f2533" providerId="ADAL" clId="{FC9ED260-ED45-4383-A6C6-F9ABC477379E}" dt="2021-07-24T05:11:12.499" v="6414"/>
          <ac:spMkLst>
            <pc:docMk/>
            <pc:sldMk cId="2251132479" sldId="275"/>
            <ac:spMk id="10" creationId="{083AC2C1-131F-47CE-87D4-37C2C43CD13A}"/>
          </ac:spMkLst>
        </pc:spChg>
        <pc:spChg chg="add del mod modVis">
          <ac:chgData name="Sushant" userId="9fb19323-084a-4aea-8034-88a68d3f2533" providerId="ADAL" clId="{FC9ED260-ED45-4383-A6C6-F9ABC477379E}" dt="2021-07-24T05:11:22.933" v="6457"/>
          <ac:spMkLst>
            <pc:docMk/>
            <pc:sldMk cId="2251132479" sldId="275"/>
            <ac:spMk id="11" creationId="{3C0684F1-2521-4C23-9DA5-3E134FBCF4BD}"/>
          </ac:spMkLst>
        </pc:spChg>
        <pc:spChg chg="add del mod modVis">
          <ac:chgData name="Sushant" userId="9fb19323-084a-4aea-8034-88a68d3f2533" providerId="ADAL" clId="{FC9ED260-ED45-4383-A6C6-F9ABC477379E}" dt="2021-07-24T05:11:23.850" v="6500"/>
          <ac:spMkLst>
            <pc:docMk/>
            <pc:sldMk cId="2251132479" sldId="275"/>
            <ac:spMk id="12" creationId="{F5AAF4F7-A14E-4459-85D0-4A30D6A6AAAB}"/>
          </ac:spMkLst>
        </pc:spChg>
        <pc:spChg chg="add del mod modVis">
          <ac:chgData name="Sushant" userId="9fb19323-084a-4aea-8034-88a68d3f2533" providerId="ADAL" clId="{FC9ED260-ED45-4383-A6C6-F9ABC477379E}" dt="2021-07-24T05:11:26.384" v="6543"/>
          <ac:spMkLst>
            <pc:docMk/>
            <pc:sldMk cId="2251132479" sldId="275"/>
            <ac:spMk id="13" creationId="{E7361A5B-9DBF-4FF5-91C3-4D31BC17BD0E}"/>
          </ac:spMkLst>
        </pc:spChg>
        <pc:spChg chg="add del mod modVis">
          <ac:chgData name="Sushant" userId="9fb19323-084a-4aea-8034-88a68d3f2533" providerId="ADAL" clId="{FC9ED260-ED45-4383-A6C6-F9ABC477379E}" dt="2021-07-24T05:11:31.769" v="6591"/>
          <ac:spMkLst>
            <pc:docMk/>
            <pc:sldMk cId="2251132479" sldId="275"/>
            <ac:spMk id="14" creationId="{F9C587F6-7782-47C0-903F-68D235DE5AFF}"/>
          </ac:spMkLst>
        </pc:spChg>
        <pc:spChg chg="add del mod modVis">
          <ac:chgData name="Sushant" userId="9fb19323-084a-4aea-8034-88a68d3f2533" providerId="ADAL" clId="{FC9ED260-ED45-4383-A6C6-F9ABC477379E}" dt="2021-07-24T05:11:34.213" v="6641"/>
          <ac:spMkLst>
            <pc:docMk/>
            <pc:sldMk cId="2251132479" sldId="275"/>
            <ac:spMk id="15" creationId="{D2BB4CF3-9A28-4C38-BC91-96DBDA4F7FC7}"/>
          </ac:spMkLst>
        </pc:spChg>
        <pc:spChg chg="add del mod modVis">
          <ac:chgData name="Sushant" userId="9fb19323-084a-4aea-8034-88a68d3f2533" providerId="ADAL" clId="{FC9ED260-ED45-4383-A6C6-F9ABC477379E}" dt="2021-07-24T05:11:37.358" v="6689"/>
          <ac:spMkLst>
            <pc:docMk/>
            <pc:sldMk cId="2251132479" sldId="275"/>
            <ac:spMk id="16" creationId="{8830FA37-BCD2-4254-B077-016D5E6E0C07}"/>
          </ac:spMkLst>
        </pc:spChg>
        <pc:spChg chg="add del mod modVis">
          <ac:chgData name="Sushant" userId="9fb19323-084a-4aea-8034-88a68d3f2533" providerId="ADAL" clId="{FC9ED260-ED45-4383-A6C6-F9ABC477379E}" dt="2021-07-24T05:11:40.963" v="6746"/>
          <ac:spMkLst>
            <pc:docMk/>
            <pc:sldMk cId="2251132479" sldId="275"/>
            <ac:spMk id="17" creationId="{7F402551-88B9-496E-A014-A4B0A59077DD}"/>
          </ac:spMkLst>
        </pc:spChg>
        <pc:spChg chg="add del mod modVis">
          <ac:chgData name="Sushant" userId="9fb19323-084a-4aea-8034-88a68d3f2533" providerId="ADAL" clId="{FC9ED260-ED45-4383-A6C6-F9ABC477379E}" dt="2021-07-24T05:11:43.229" v="6802"/>
          <ac:spMkLst>
            <pc:docMk/>
            <pc:sldMk cId="2251132479" sldId="275"/>
            <ac:spMk id="18" creationId="{45D10F49-7A07-4DCA-8D9A-2F1F2193BBAB}"/>
          </ac:spMkLst>
        </pc:spChg>
        <pc:spChg chg="add del mod modVis">
          <ac:chgData name="Sushant" userId="9fb19323-084a-4aea-8034-88a68d3f2533" providerId="ADAL" clId="{FC9ED260-ED45-4383-A6C6-F9ABC477379E}" dt="2021-07-24T05:11:44.779" v="6845"/>
          <ac:spMkLst>
            <pc:docMk/>
            <pc:sldMk cId="2251132479" sldId="275"/>
            <ac:spMk id="19" creationId="{4A75B094-4065-4EF3-A38F-4BAE144AA380}"/>
          </ac:spMkLst>
        </pc:spChg>
        <pc:spChg chg="add del mod modVis">
          <ac:chgData name="Sushant" userId="9fb19323-084a-4aea-8034-88a68d3f2533" providerId="ADAL" clId="{FC9ED260-ED45-4383-A6C6-F9ABC477379E}" dt="2021-07-24T05:11:47.125" v="6895"/>
          <ac:spMkLst>
            <pc:docMk/>
            <pc:sldMk cId="2251132479" sldId="275"/>
            <ac:spMk id="20" creationId="{E362E14E-FA12-42B3-A511-EE675C2728DE}"/>
          </ac:spMkLst>
        </pc:spChg>
        <pc:spChg chg="add del mod modVis">
          <ac:chgData name="Sushant" userId="9fb19323-084a-4aea-8034-88a68d3f2533" providerId="ADAL" clId="{FC9ED260-ED45-4383-A6C6-F9ABC477379E}" dt="2021-07-24T05:11:48.863" v="6940"/>
          <ac:spMkLst>
            <pc:docMk/>
            <pc:sldMk cId="2251132479" sldId="275"/>
            <ac:spMk id="21" creationId="{3D479BCD-C925-4CB9-B95B-736CB4ED48B8}"/>
          </ac:spMkLst>
        </pc:spChg>
        <pc:spChg chg="add del mod modVis">
          <ac:chgData name="Sushant" userId="9fb19323-084a-4aea-8034-88a68d3f2533" providerId="ADAL" clId="{FC9ED260-ED45-4383-A6C6-F9ABC477379E}" dt="2021-07-24T05:11:50.782" v="6992"/>
          <ac:spMkLst>
            <pc:docMk/>
            <pc:sldMk cId="2251132479" sldId="275"/>
            <ac:spMk id="22" creationId="{07655320-4599-420E-8DE1-8DB1F731A1C4}"/>
          </ac:spMkLst>
        </pc:spChg>
        <pc:spChg chg="add del mod modVis">
          <ac:chgData name="Sushant" userId="9fb19323-084a-4aea-8034-88a68d3f2533" providerId="ADAL" clId="{FC9ED260-ED45-4383-A6C6-F9ABC477379E}" dt="2021-07-24T05:11:52.293" v="7038"/>
          <ac:spMkLst>
            <pc:docMk/>
            <pc:sldMk cId="2251132479" sldId="275"/>
            <ac:spMk id="23" creationId="{94D1A369-E323-451F-AC4F-752F2E8ED122}"/>
          </ac:spMkLst>
        </pc:spChg>
        <pc:spChg chg="add mod ord">
          <ac:chgData name="Sushant" userId="9fb19323-084a-4aea-8034-88a68d3f2533" providerId="ADAL" clId="{FC9ED260-ED45-4383-A6C6-F9ABC477379E}" dt="2021-07-24T05:30:53.050" v="7970" actId="1076"/>
          <ac:spMkLst>
            <pc:docMk/>
            <pc:sldMk cId="2251132479" sldId="275"/>
            <ac:spMk id="24" creationId="{65ECED02-1929-4E21-8D17-94EBAE342E5C}"/>
          </ac:spMkLst>
        </pc:spChg>
        <pc:spChg chg="add mod ord">
          <ac:chgData name="Sushant" userId="9fb19323-084a-4aea-8034-88a68d3f2533" providerId="ADAL" clId="{FC9ED260-ED45-4383-A6C6-F9ABC477379E}" dt="2021-07-24T05:33:39.277" v="7994" actId="20577"/>
          <ac:spMkLst>
            <pc:docMk/>
            <pc:sldMk cId="2251132479" sldId="275"/>
            <ac:spMk id="25" creationId="{1E230791-09DA-4E4B-B70F-97E6C7EFC9CF}"/>
          </ac:spMkLst>
        </pc:spChg>
        <pc:spChg chg="add mod ord">
          <ac:chgData name="Sushant" userId="9fb19323-084a-4aea-8034-88a68d3f2533" providerId="ADAL" clId="{FC9ED260-ED45-4383-A6C6-F9ABC477379E}" dt="2021-07-24T05:48:35.793" v="9063" actId="20577"/>
          <ac:spMkLst>
            <pc:docMk/>
            <pc:sldMk cId="2251132479" sldId="275"/>
            <ac:spMk id="26" creationId="{CC493008-001E-428A-BA17-13DED8D413B5}"/>
          </ac:spMkLst>
        </pc:spChg>
        <pc:spChg chg="add mod ord">
          <ac:chgData name="Sushant" userId="9fb19323-084a-4aea-8034-88a68d3f2533" providerId="ADAL" clId="{FC9ED260-ED45-4383-A6C6-F9ABC477379E}" dt="2021-07-24T05:30:53.050" v="7970" actId="1076"/>
          <ac:spMkLst>
            <pc:docMk/>
            <pc:sldMk cId="2251132479" sldId="275"/>
            <ac:spMk id="27" creationId="{1A76B8A7-F8A3-4E82-AE45-EF177F4100C1}"/>
          </ac:spMkLst>
        </pc:spChg>
        <pc:spChg chg="add del mod">
          <ac:chgData name="Sushant" userId="9fb19323-084a-4aea-8034-88a68d3f2533" providerId="ADAL" clId="{FC9ED260-ED45-4383-A6C6-F9ABC477379E}" dt="2021-07-24T05:19:47.124" v="7127" actId="478"/>
          <ac:spMkLst>
            <pc:docMk/>
            <pc:sldMk cId="2251132479" sldId="275"/>
            <ac:spMk id="28" creationId="{989FAC40-B829-41BE-A4D0-5BF47E1328FC}"/>
          </ac:spMkLst>
        </pc:spChg>
        <pc:spChg chg="add mod ord">
          <ac:chgData name="Sushant" userId="9fb19323-084a-4aea-8034-88a68d3f2533" providerId="ADAL" clId="{FC9ED260-ED45-4383-A6C6-F9ABC477379E}" dt="2021-07-24T05:30:53.050" v="7970" actId="1076"/>
          <ac:spMkLst>
            <pc:docMk/>
            <pc:sldMk cId="2251132479" sldId="275"/>
            <ac:spMk id="29" creationId="{EBFD7636-C2C0-4EB6-87AA-E118319528CB}"/>
          </ac:spMkLst>
        </pc:spChg>
        <pc:spChg chg="add mod ord">
          <ac:chgData name="Sushant" userId="9fb19323-084a-4aea-8034-88a68d3f2533" providerId="ADAL" clId="{FC9ED260-ED45-4383-A6C6-F9ABC477379E}" dt="2021-07-24T05:30:53.050" v="7970" actId="1076"/>
          <ac:spMkLst>
            <pc:docMk/>
            <pc:sldMk cId="2251132479" sldId="275"/>
            <ac:spMk id="30" creationId="{B1B295F5-A547-49AE-834D-00FE967C5D33}"/>
          </ac:spMkLst>
        </pc:spChg>
        <pc:spChg chg="add mod ord">
          <ac:chgData name="Sushant" userId="9fb19323-084a-4aea-8034-88a68d3f2533" providerId="ADAL" clId="{FC9ED260-ED45-4383-A6C6-F9ABC477379E}" dt="2021-07-24T05:34:15.482" v="7997" actId="20577"/>
          <ac:spMkLst>
            <pc:docMk/>
            <pc:sldMk cId="2251132479" sldId="275"/>
            <ac:spMk id="31" creationId="{2DF5A4CA-15D9-403E-ABFC-C2C6DCBB669A}"/>
          </ac:spMkLst>
        </pc:spChg>
        <pc:spChg chg="add mod ord">
          <ac:chgData name="Sushant" userId="9fb19323-084a-4aea-8034-88a68d3f2533" providerId="ADAL" clId="{FC9ED260-ED45-4383-A6C6-F9ABC477379E}" dt="2021-07-24T05:34:44.555" v="8024" actId="6549"/>
          <ac:spMkLst>
            <pc:docMk/>
            <pc:sldMk cId="2251132479" sldId="275"/>
            <ac:spMk id="32" creationId="{F92B6685-D100-45E9-8DCB-A89EA8B6C7D2}"/>
          </ac:spMkLst>
        </pc:spChg>
        <pc:spChg chg="add del mod">
          <ac:chgData name="Sushant" userId="9fb19323-084a-4aea-8034-88a68d3f2533" providerId="ADAL" clId="{FC9ED260-ED45-4383-A6C6-F9ABC477379E}" dt="2021-07-24T05:22:31.564" v="7212" actId="478"/>
          <ac:spMkLst>
            <pc:docMk/>
            <pc:sldMk cId="2251132479" sldId="275"/>
            <ac:spMk id="33" creationId="{ADC57998-E6E3-4C87-884C-2927E06AC30D}"/>
          </ac:spMkLst>
        </pc:spChg>
        <pc:spChg chg="add mod ord">
          <ac:chgData name="Sushant" userId="9fb19323-084a-4aea-8034-88a68d3f2533" providerId="ADAL" clId="{FC9ED260-ED45-4383-A6C6-F9ABC477379E}" dt="2021-07-24T05:30:53.050" v="7970" actId="1076"/>
          <ac:spMkLst>
            <pc:docMk/>
            <pc:sldMk cId="2251132479" sldId="275"/>
            <ac:spMk id="34" creationId="{9BB17A94-7DE6-4E9A-A824-B40E128D82C6}"/>
          </ac:spMkLst>
        </pc:spChg>
        <pc:spChg chg="add mod ord">
          <ac:chgData name="Sushant" userId="9fb19323-084a-4aea-8034-88a68d3f2533" providerId="ADAL" clId="{FC9ED260-ED45-4383-A6C6-F9ABC477379E}" dt="2021-07-24T05:30:53.050" v="7970" actId="1076"/>
          <ac:spMkLst>
            <pc:docMk/>
            <pc:sldMk cId="2251132479" sldId="275"/>
            <ac:spMk id="35" creationId="{5C61A84F-BD4B-4204-A254-C8EC0FD1286B}"/>
          </ac:spMkLst>
        </pc:spChg>
        <pc:spChg chg="add mod ord">
          <ac:chgData name="Sushant" userId="9fb19323-084a-4aea-8034-88a68d3f2533" providerId="ADAL" clId="{FC9ED260-ED45-4383-A6C6-F9ABC477379E}" dt="2021-07-24T05:30:53.050" v="7970" actId="1076"/>
          <ac:spMkLst>
            <pc:docMk/>
            <pc:sldMk cId="2251132479" sldId="275"/>
            <ac:spMk id="36" creationId="{1B78E562-4629-4E1D-B1EF-FFC855042569}"/>
          </ac:spMkLst>
        </pc:spChg>
        <pc:spChg chg="add mod ord">
          <ac:chgData name="Sushant" userId="9fb19323-084a-4aea-8034-88a68d3f2533" providerId="ADAL" clId="{FC9ED260-ED45-4383-A6C6-F9ABC477379E}" dt="2021-07-24T05:30:53.050" v="7970" actId="1076"/>
          <ac:spMkLst>
            <pc:docMk/>
            <pc:sldMk cId="2251132479" sldId="275"/>
            <ac:spMk id="37" creationId="{35EEC8C5-522A-40F3-AEC4-5A6E26692B21}"/>
          </ac:spMkLst>
        </pc:spChg>
        <pc:spChg chg="add del mod modVis">
          <ac:chgData name="Sushant" userId="9fb19323-084a-4aea-8034-88a68d3f2533" providerId="ADAL" clId="{FC9ED260-ED45-4383-A6C6-F9ABC477379E}" dt="2021-07-24T05:26:36.131" v="7569"/>
          <ac:spMkLst>
            <pc:docMk/>
            <pc:sldMk cId="2251132479" sldId="275"/>
            <ac:spMk id="38" creationId="{19621D17-7EB8-4283-AB94-6821B51E6678}"/>
          </ac:spMkLst>
        </pc:spChg>
        <pc:spChg chg="add mod ord">
          <ac:chgData name="Sushant" userId="9fb19323-084a-4aea-8034-88a68d3f2533" providerId="ADAL" clId="{FC9ED260-ED45-4383-A6C6-F9ABC477379E}" dt="2021-07-24T05:30:53.050" v="7970" actId="1076"/>
          <ac:spMkLst>
            <pc:docMk/>
            <pc:sldMk cId="2251132479" sldId="275"/>
            <ac:spMk id="39" creationId="{D35A2584-2D6A-48B0-B019-B04403052E99}"/>
          </ac:spMkLst>
        </pc:spChg>
        <pc:spChg chg="add mod ord">
          <ac:chgData name="Sushant" userId="9fb19323-084a-4aea-8034-88a68d3f2533" providerId="ADAL" clId="{FC9ED260-ED45-4383-A6C6-F9ABC477379E}" dt="2021-07-24T05:30:53.050" v="7970" actId="1076"/>
          <ac:spMkLst>
            <pc:docMk/>
            <pc:sldMk cId="2251132479" sldId="275"/>
            <ac:spMk id="40" creationId="{7A5A94AB-D102-4A9B-A39E-BA482A8B69CD}"/>
          </ac:spMkLst>
        </pc:spChg>
        <pc:spChg chg="add mod ord">
          <ac:chgData name="Sushant" userId="9fb19323-084a-4aea-8034-88a68d3f2533" providerId="ADAL" clId="{FC9ED260-ED45-4383-A6C6-F9ABC477379E}" dt="2021-07-24T05:30:59.642" v="7972" actId="14100"/>
          <ac:spMkLst>
            <pc:docMk/>
            <pc:sldMk cId="2251132479" sldId="275"/>
            <ac:spMk id="41" creationId="{63682208-930E-46A0-84F5-5A82809440ED}"/>
          </ac:spMkLst>
        </pc:spChg>
        <pc:spChg chg="add del mod">
          <ac:chgData name="Sushant" userId="9fb19323-084a-4aea-8034-88a68d3f2533" providerId="ADAL" clId="{FC9ED260-ED45-4383-A6C6-F9ABC477379E}" dt="2021-07-24T05:29:11.171" v="7819" actId="478"/>
          <ac:spMkLst>
            <pc:docMk/>
            <pc:sldMk cId="2251132479" sldId="275"/>
            <ac:spMk id="42" creationId="{EF011C00-6CCE-4698-B939-AD43AADA5F7C}"/>
          </ac:spMkLst>
        </pc:spChg>
        <pc:spChg chg="add del mod">
          <ac:chgData name="Sushant" userId="9fb19323-084a-4aea-8034-88a68d3f2533" providerId="ADAL" clId="{FC9ED260-ED45-4383-A6C6-F9ABC477379E}" dt="2021-07-24T05:29:14.504" v="7820" actId="478"/>
          <ac:spMkLst>
            <pc:docMk/>
            <pc:sldMk cId="2251132479" sldId="275"/>
            <ac:spMk id="43" creationId="{E4C2E002-F71C-4A73-853F-2C9A749DD7B2}"/>
          </ac:spMkLst>
        </pc:spChg>
        <pc:spChg chg="add mod ord">
          <ac:chgData name="Sushant" userId="9fb19323-084a-4aea-8034-88a68d3f2533" providerId="ADAL" clId="{FC9ED260-ED45-4383-A6C6-F9ABC477379E}" dt="2021-07-24T05:32:19.203" v="7986" actId="1076"/>
          <ac:spMkLst>
            <pc:docMk/>
            <pc:sldMk cId="2251132479" sldId="275"/>
            <ac:spMk id="44" creationId="{C33D577E-4BB3-4FB9-91AC-F46F237B4188}"/>
          </ac:spMkLst>
        </pc:spChg>
        <pc:spChg chg="add mod ord">
          <ac:chgData name="Sushant" userId="9fb19323-084a-4aea-8034-88a68d3f2533" providerId="ADAL" clId="{FC9ED260-ED45-4383-A6C6-F9ABC477379E}" dt="2021-07-24T05:32:12.337" v="7985" actId="5793"/>
          <ac:spMkLst>
            <pc:docMk/>
            <pc:sldMk cId="2251132479" sldId="275"/>
            <ac:spMk id="45" creationId="{548AEF80-F547-4A49-AC5C-1DD0CDAB80F6}"/>
          </ac:spMkLst>
        </pc:spChg>
        <pc:spChg chg="add del mod modVis">
          <ac:chgData name="Sushant" userId="9fb19323-084a-4aea-8034-88a68d3f2533" providerId="ADAL" clId="{FC9ED260-ED45-4383-A6C6-F9ABC477379E}" dt="2021-07-24T05:30:23.869" v="7917"/>
          <ac:spMkLst>
            <pc:docMk/>
            <pc:sldMk cId="2251132479" sldId="275"/>
            <ac:spMk id="46" creationId="{513EF665-1D35-4338-95FD-E55DC0DBF3E9}"/>
          </ac:spMkLst>
        </pc:spChg>
        <pc:graphicFrameChg chg="add mod ord modVis">
          <ac:chgData name="Sushant" userId="9fb19323-084a-4aea-8034-88a68d3f2533" providerId="ADAL" clId="{FC9ED260-ED45-4383-A6C6-F9ABC477379E}" dt="2021-07-24T05:30:27.438" v="7966"/>
          <ac:graphicFrameMkLst>
            <pc:docMk/>
            <pc:sldMk cId="2251132479" sldId="275"/>
            <ac:graphicFrameMk id="5" creationId="{D3271C8A-D999-4B86-AA1B-6DE5692E55C1}"/>
          </ac:graphicFrameMkLst>
        </pc:graphicFrameChg>
        <pc:picChg chg="mod ord">
          <ac:chgData name="Sushant" userId="9fb19323-084a-4aea-8034-88a68d3f2533" providerId="ADAL" clId="{FC9ED260-ED45-4383-A6C6-F9ABC477379E}" dt="2021-07-24T05:30:53.050" v="7970" actId="1076"/>
          <ac:picMkLst>
            <pc:docMk/>
            <pc:sldMk cId="2251132479" sldId="275"/>
            <ac:picMk id="4" creationId="{6AC145E3-D307-2048-BD6D-A7838018ABDD}"/>
          </ac:picMkLst>
        </pc:picChg>
        <pc:picChg chg="mod ord">
          <ac:chgData name="Sushant" userId="9fb19323-084a-4aea-8034-88a68d3f2533" providerId="ADAL" clId="{FC9ED260-ED45-4383-A6C6-F9ABC477379E}" dt="2021-07-24T05:30:53.050" v="7970" actId="1076"/>
          <ac:picMkLst>
            <pc:docMk/>
            <pc:sldMk cId="2251132479" sldId="275"/>
            <ac:picMk id="6" creationId="{56DF3EDF-9211-B24E-AFB3-9866B67E5730}"/>
          </ac:picMkLst>
        </pc:picChg>
        <pc:picChg chg="mod ord">
          <ac:chgData name="Sushant" userId="9fb19323-084a-4aea-8034-88a68d3f2533" providerId="ADAL" clId="{FC9ED260-ED45-4383-A6C6-F9ABC477379E}" dt="2021-07-24T05:27:02.137" v="7638"/>
          <ac:picMkLst>
            <pc:docMk/>
            <pc:sldMk cId="2251132479" sldId="275"/>
            <ac:picMk id="7" creationId="{B780B167-5556-7041-B49A-F07DD8E7C249}"/>
          </ac:picMkLst>
        </pc:picChg>
        <pc:picChg chg="mod ord">
          <ac:chgData name="Sushant" userId="9fb19323-084a-4aea-8034-88a68d3f2533" providerId="ADAL" clId="{FC9ED260-ED45-4383-A6C6-F9ABC477379E}" dt="2021-07-24T05:30:53.050" v="7970" actId="1076"/>
          <ac:picMkLst>
            <pc:docMk/>
            <pc:sldMk cId="2251132479" sldId="275"/>
            <ac:picMk id="9" creationId="{41B3BA6D-5B5C-C748-9499-4F085AA9392B}"/>
          </ac:picMkLst>
        </pc:picChg>
      </pc:sldChg>
      <pc:sldChg chg="addSp delSp modSp add">
        <pc:chgData name="Sushant" userId="9fb19323-084a-4aea-8034-88a68d3f2533" providerId="ADAL" clId="{FC9ED260-ED45-4383-A6C6-F9ABC477379E}" dt="2021-07-24T06:01:39.424" v="9280" actId="1076"/>
        <pc:sldMkLst>
          <pc:docMk/>
          <pc:sldMk cId="2667699651" sldId="276"/>
        </pc:sldMkLst>
        <pc:spChg chg="mod">
          <ac:chgData name="Sushant" userId="9fb19323-084a-4aea-8034-88a68d3f2533" providerId="ADAL" clId="{FC9ED260-ED45-4383-A6C6-F9ABC477379E}" dt="2021-07-24T05:42:28.094" v="8927" actId="948"/>
          <ac:spMkLst>
            <pc:docMk/>
            <pc:sldMk cId="2667699651" sldId="276"/>
            <ac:spMk id="2" creationId="{DB553EF5-FADB-40AC-A25F-84440F226E4C}"/>
          </ac:spMkLst>
        </pc:spChg>
        <pc:spChg chg="add del mod modVis">
          <ac:chgData name="Sushant" userId="9fb19323-084a-4aea-8034-88a68d3f2533" providerId="ADAL" clId="{FC9ED260-ED45-4383-A6C6-F9ABC477379E}" dt="2021-07-24T05:41:04.980" v="8208"/>
          <ac:spMkLst>
            <pc:docMk/>
            <pc:sldMk cId="2667699651" sldId="276"/>
            <ac:spMk id="3" creationId="{B390698F-D4B4-47EA-A149-F11C7FE1A43E}"/>
          </ac:spMkLst>
        </pc:spChg>
        <pc:spChg chg="add">
          <ac:chgData name="Sushant" userId="9fb19323-084a-4aea-8034-88a68d3f2533" providerId="ADAL" clId="{FC9ED260-ED45-4383-A6C6-F9ABC477379E}" dt="2021-07-24T05:41:14.744" v="8224"/>
          <ac:spMkLst>
            <pc:docMk/>
            <pc:sldMk cId="2667699651" sldId="276"/>
            <ac:spMk id="5" creationId="{FD2DC93F-73D9-4FA9-85CF-6ADABE49743F}"/>
          </ac:spMkLst>
        </pc:spChg>
        <pc:spChg chg="add del mod modVis">
          <ac:chgData name="Sushant" userId="9fb19323-084a-4aea-8034-88a68d3f2533" providerId="ADAL" clId="{FC9ED260-ED45-4383-A6C6-F9ABC477379E}" dt="2021-07-24T05:41:33.700" v="8278"/>
          <ac:spMkLst>
            <pc:docMk/>
            <pc:sldMk cId="2667699651" sldId="276"/>
            <ac:spMk id="6" creationId="{A7059D23-F333-4275-AF5D-541ACCD9210E}"/>
          </ac:spMkLst>
        </pc:spChg>
        <pc:spChg chg="add del mod modVis">
          <ac:chgData name="Sushant" userId="9fb19323-084a-4aea-8034-88a68d3f2533" providerId="ADAL" clId="{FC9ED260-ED45-4383-A6C6-F9ABC477379E}" dt="2021-07-24T05:41:35.180" v="8325"/>
          <ac:spMkLst>
            <pc:docMk/>
            <pc:sldMk cId="2667699651" sldId="276"/>
            <ac:spMk id="7" creationId="{8A8DCD43-7382-4003-B8F8-0E831D807769}"/>
          </ac:spMkLst>
        </pc:spChg>
        <pc:spChg chg="add del mod modVis">
          <ac:chgData name="Sushant" userId="9fb19323-084a-4aea-8034-88a68d3f2533" providerId="ADAL" clId="{FC9ED260-ED45-4383-A6C6-F9ABC477379E}" dt="2021-07-24T05:41:37.019" v="8372"/>
          <ac:spMkLst>
            <pc:docMk/>
            <pc:sldMk cId="2667699651" sldId="276"/>
            <ac:spMk id="8" creationId="{457886B3-AC11-4B2B-B5C6-4FBD6C92114E}"/>
          </ac:spMkLst>
        </pc:spChg>
        <pc:spChg chg="add del mod modVis">
          <ac:chgData name="Sushant" userId="9fb19323-084a-4aea-8034-88a68d3f2533" providerId="ADAL" clId="{FC9ED260-ED45-4383-A6C6-F9ABC477379E}" dt="2021-07-24T05:41:37.589" v="8415"/>
          <ac:spMkLst>
            <pc:docMk/>
            <pc:sldMk cId="2667699651" sldId="276"/>
            <ac:spMk id="9" creationId="{E2D89B4E-64F8-429D-8F84-A71DE1D31195}"/>
          </ac:spMkLst>
        </pc:spChg>
        <pc:spChg chg="add del mod modVis">
          <ac:chgData name="Sushant" userId="9fb19323-084a-4aea-8034-88a68d3f2533" providerId="ADAL" clId="{FC9ED260-ED45-4383-A6C6-F9ABC477379E}" dt="2021-07-24T05:41:41.718" v="8462"/>
          <ac:spMkLst>
            <pc:docMk/>
            <pc:sldMk cId="2667699651" sldId="276"/>
            <ac:spMk id="10" creationId="{5EDE940F-ED3B-4D95-82EE-1BA586B8F74A}"/>
          </ac:spMkLst>
        </pc:spChg>
        <pc:spChg chg="add del mod modVis">
          <ac:chgData name="Sushant" userId="9fb19323-084a-4aea-8034-88a68d3f2533" providerId="ADAL" clId="{FC9ED260-ED45-4383-A6C6-F9ABC477379E}" dt="2021-07-24T05:42:00.495" v="8550"/>
          <ac:spMkLst>
            <pc:docMk/>
            <pc:sldMk cId="2667699651" sldId="276"/>
            <ac:spMk id="11" creationId="{0FF65C57-E24A-4F71-8E3B-DBC188FD8CEF}"/>
          </ac:spMkLst>
        </pc:spChg>
        <pc:spChg chg="add del mod modVis">
          <ac:chgData name="Sushant" userId="9fb19323-084a-4aea-8034-88a68d3f2533" providerId="ADAL" clId="{FC9ED260-ED45-4383-A6C6-F9ABC477379E}" dt="2021-07-24T05:42:04.283" v="8602"/>
          <ac:spMkLst>
            <pc:docMk/>
            <pc:sldMk cId="2667699651" sldId="276"/>
            <ac:spMk id="12" creationId="{0F42EB49-451C-4F30-A058-2C9F7EEE1AC7}"/>
          </ac:spMkLst>
        </pc:spChg>
        <pc:spChg chg="add del mod modVis">
          <ac:chgData name="Sushant" userId="9fb19323-084a-4aea-8034-88a68d3f2533" providerId="ADAL" clId="{FC9ED260-ED45-4383-A6C6-F9ABC477379E}" dt="2021-07-24T05:42:10.971" v="8682"/>
          <ac:spMkLst>
            <pc:docMk/>
            <pc:sldMk cId="2667699651" sldId="276"/>
            <ac:spMk id="13" creationId="{967A5C34-210F-4C1F-9ADD-EDC15555BCF1}"/>
          </ac:spMkLst>
        </pc:spChg>
        <pc:spChg chg="add del mod modVis">
          <ac:chgData name="Sushant" userId="9fb19323-084a-4aea-8034-88a68d3f2533" providerId="ADAL" clId="{FC9ED260-ED45-4383-A6C6-F9ABC477379E}" dt="2021-07-24T05:42:17.769" v="8726"/>
          <ac:spMkLst>
            <pc:docMk/>
            <pc:sldMk cId="2667699651" sldId="276"/>
            <ac:spMk id="14" creationId="{1625BC4E-00E7-4B67-A9BE-C5CD703D937F}"/>
          </ac:spMkLst>
        </pc:spChg>
        <pc:spChg chg="add del mod modVis">
          <ac:chgData name="Sushant" userId="9fb19323-084a-4aea-8034-88a68d3f2533" providerId="ADAL" clId="{FC9ED260-ED45-4383-A6C6-F9ABC477379E}" dt="2021-07-24T05:42:21.408" v="8772"/>
          <ac:spMkLst>
            <pc:docMk/>
            <pc:sldMk cId="2667699651" sldId="276"/>
            <ac:spMk id="15" creationId="{59F60A52-DB90-45DE-87ED-CFF1B0577814}"/>
          </ac:spMkLst>
        </pc:spChg>
        <pc:spChg chg="add del mod modVis">
          <ac:chgData name="Sushant" userId="9fb19323-084a-4aea-8034-88a68d3f2533" providerId="ADAL" clId="{FC9ED260-ED45-4383-A6C6-F9ABC477379E}" dt="2021-07-24T05:42:23.847" v="8823"/>
          <ac:spMkLst>
            <pc:docMk/>
            <pc:sldMk cId="2667699651" sldId="276"/>
            <ac:spMk id="16" creationId="{C14DE106-C723-4282-8BF7-4EE960FD446C}"/>
          </ac:spMkLst>
        </pc:spChg>
        <pc:spChg chg="add del mod modVis">
          <ac:chgData name="Sushant" userId="9fb19323-084a-4aea-8034-88a68d3f2533" providerId="ADAL" clId="{FC9ED260-ED45-4383-A6C6-F9ABC477379E}" dt="2021-07-24T05:42:24.645" v="8867"/>
          <ac:spMkLst>
            <pc:docMk/>
            <pc:sldMk cId="2667699651" sldId="276"/>
            <ac:spMk id="17" creationId="{F92AF706-15DF-4E57-87C2-332D092EC686}"/>
          </ac:spMkLst>
        </pc:spChg>
        <pc:spChg chg="add del mod modVis">
          <ac:chgData name="Sushant" userId="9fb19323-084a-4aea-8034-88a68d3f2533" providerId="ADAL" clId="{FC9ED260-ED45-4383-A6C6-F9ABC477379E}" dt="2021-07-24T05:42:25.797" v="8913"/>
          <ac:spMkLst>
            <pc:docMk/>
            <pc:sldMk cId="2667699651" sldId="276"/>
            <ac:spMk id="18" creationId="{0DE602F0-AE94-4A70-A83B-28A0FEE8D724}"/>
          </ac:spMkLst>
        </pc:spChg>
        <pc:spChg chg="add del mod modVis">
          <ac:chgData name="Sushant" userId="9fb19323-084a-4aea-8034-88a68d3f2533" providerId="ADAL" clId="{FC9ED260-ED45-4383-A6C6-F9ABC477379E}" dt="2021-07-24T05:42:28.148" v="8966"/>
          <ac:spMkLst>
            <pc:docMk/>
            <pc:sldMk cId="2667699651" sldId="276"/>
            <ac:spMk id="19" creationId="{D9F727A7-7536-4102-9251-6F151D17D680}"/>
          </ac:spMkLst>
        </pc:spChg>
        <pc:spChg chg="add del mod">
          <ac:chgData name="Sushant" userId="9fb19323-084a-4aea-8034-88a68d3f2533" providerId="ADAL" clId="{FC9ED260-ED45-4383-A6C6-F9ABC477379E}" dt="2021-07-24T05:56:07.629" v="9225" actId="478"/>
          <ac:spMkLst>
            <pc:docMk/>
            <pc:sldMk cId="2667699651" sldId="276"/>
            <ac:spMk id="20" creationId="{3B9B44E5-217B-40D1-A3A8-19A8983FB0BF}"/>
          </ac:spMkLst>
        </pc:spChg>
        <pc:spChg chg="add del mod">
          <ac:chgData name="Sushant" userId="9fb19323-084a-4aea-8034-88a68d3f2533" providerId="ADAL" clId="{FC9ED260-ED45-4383-A6C6-F9ABC477379E}" dt="2021-07-24T05:55:49.543" v="9221" actId="478"/>
          <ac:spMkLst>
            <pc:docMk/>
            <pc:sldMk cId="2667699651" sldId="276"/>
            <ac:spMk id="21" creationId="{83CB1196-9117-41D0-AA1B-512B2AF2EB28}"/>
          </ac:spMkLst>
        </pc:spChg>
        <pc:spChg chg="add mod">
          <ac:chgData name="Sushant" userId="9fb19323-084a-4aea-8034-88a68d3f2533" providerId="ADAL" clId="{FC9ED260-ED45-4383-A6C6-F9ABC477379E}" dt="2021-07-24T06:01:10.925" v="9275" actId="1076"/>
          <ac:spMkLst>
            <pc:docMk/>
            <pc:sldMk cId="2667699651" sldId="276"/>
            <ac:spMk id="22" creationId="{D8A85EE4-DBB7-490F-8E8C-A956F71B8E80}"/>
          </ac:spMkLst>
        </pc:spChg>
        <pc:spChg chg="add del mod">
          <ac:chgData name="Sushant" userId="9fb19323-084a-4aea-8034-88a68d3f2533" providerId="ADAL" clId="{FC9ED260-ED45-4383-A6C6-F9ABC477379E}" dt="2021-07-24T05:56:31.922" v="9230" actId="478"/>
          <ac:spMkLst>
            <pc:docMk/>
            <pc:sldMk cId="2667699651" sldId="276"/>
            <ac:spMk id="23" creationId="{30AF7036-B4C2-4F16-BE82-D08280D514E5}"/>
          </ac:spMkLst>
        </pc:spChg>
        <pc:spChg chg="add del mod">
          <ac:chgData name="Sushant" userId="9fb19323-084a-4aea-8034-88a68d3f2533" providerId="ADAL" clId="{FC9ED260-ED45-4383-A6C6-F9ABC477379E}" dt="2021-07-24T05:55:04.403" v="9212" actId="478"/>
          <ac:spMkLst>
            <pc:docMk/>
            <pc:sldMk cId="2667699651" sldId="276"/>
            <ac:spMk id="24" creationId="{D5D01A12-28EC-46C7-9849-A897561C9806}"/>
          </ac:spMkLst>
        </pc:spChg>
        <pc:spChg chg="add mod">
          <ac:chgData name="Sushant" userId="9fb19323-084a-4aea-8034-88a68d3f2533" providerId="ADAL" clId="{FC9ED260-ED45-4383-A6C6-F9ABC477379E}" dt="2021-07-24T05:56:34.813" v="9231" actId="1076"/>
          <ac:spMkLst>
            <pc:docMk/>
            <pc:sldMk cId="2667699651" sldId="276"/>
            <ac:spMk id="25" creationId="{88B35585-1D48-4213-B53A-C72176F457F2}"/>
          </ac:spMkLst>
        </pc:spChg>
        <pc:spChg chg="add mod">
          <ac:chgData name="Sushant" userId="9fb19323-084a-4aea-8034-88a68d3f2533" providerId="ADAL" clId="{FC9ED260-ED45-4383-A6C6-F9ABC477379E}" dt="2021-07-24T06:00:58.635" v="9274" actId="20577"/>
          <ac:spMkLst>
            <pc:docMk/>
            <pc:sldMk cId="2667699651" sldId="276"/>
            <ac:spMk id="26" creationId="{357A144B-4626-4A5C-9919-6FCF444D4D0C}"/>
          </ac:spMkLst>
        </pc:spChg>
        <pc:spChg chg="add mod">
          <ac:chgData name="Sushant" userId="9fb19323-084a-4aea-8034-88a68d3f2533" providerId="ADAL" clId="{FC9ED260-ED45-4383-A6C6-F9ABC477379E}" dt="2021-07-24T05:56:25.204" v="9228" actId="465"/>
          <ac:spMkLst>
            <pc:docMk/>
            <pc:sldMk cId="2667699651" sldId="276"/>
            <ac:spMk id="27" creationId="{255385AF-681D-4EFC-BC30-24E994C7CB5F}"/>
          </ac:spMkLst>
        </pc:spChg>
        <pc:graphicFrameChg chg="add mod ord modVis">
          <ac:chgData name="Sushant" userId="9fb19323-084a-4aea-8034-88a68d3f2533" providerId="ADAL" clId="{FC9ED260-ED45-4383-A6C6-F9ABC477379E}" dt="2021-07-24T05:42:28.152" v="8968"/>
          <ac:graphicFrameMkLst>
            <pc:docMk/>
            <pc:sldMk cId="2667699651" sldId="276"/>
            <ac:graphicFrameMk id="4" creationId="{87A626A2-A494-46FE-94EE-6BD0575CD1E8}"/>
          </ac:graphicFrameMkLst>
        </pc:graphicFrameChg>
        <pc:picChg chg="mod">
          <ac:chgData name="Sushant" userId="9fb19323-084a-4aea-8034-88a68d3f2533" providerId="ADAL" clId="{FC9ED260-ED45-4383-A6C6-F9ABC477379E}" dt="2021-07-24T06:01:39.424" v="9280" actId="1076"/>
          <ac:picMkLst>
            <pc:docMk/>
            <pc:sldMk cId="2667699651" sldId="276"/>
            <ac:picMk id="3" creationId="{6FB6EA6C-BF15-BE44-A4E1-B8719AA87C48}"/>
          </ac:picMkLst>
        </pc:picChg>
        <pc:picChg chg="mod">
          <ac:chgData name="Sushant" userId="9fb19323-084a-4aea-8034-88a68d3f2533" providerId="ADAL" clId="{FC9ED260-ED45-4383-A6C6-F9ABC477379E}" dt="2021-07-24T05:59:24.993" v="9235" actId="14100"/>
          <ac:picMkLst>
            <pc:docMk/>
            <pc:sldMk cId="2667699651" sldId="276"/>
            <ac:picMk id="6" creationId="{46B4748D-17D4-2B4A-9B02-A2CE3AC91AD1}"/>
          </ac:picMkLst>
        </pc:picChg>
        <pc:picChg chg="mod">
          <ac:chgData name="Sushant" userId="9fb19323-084a-4aea-8034-88a68d3f2533" providerId="ADAL" clId="{FC9ED260-ED45-4383-A6C6-F9ABC477379E}" dt="2021-07-24T06:01:31.052" v="9277" actId="1076"/>
          <ac:picMkLst>
            <pc:docMk/>
            <pc:sldMk cId="2667699651" sldId="276"/>
            <ac:picMk id="7" creationId="{423292D0-CBA2-8F43-9E27-0FE7FACBF51A}"/>
          </ac:picMkLst>
        </pc:picChg>
        <pc:picChg chg="mod">
          <ac:chgData name="Sushant" userId="9fb19323-084a-4aea-8034-88a68d3f2533" providerId="ADAL" clId="{FC9ED260-ED45-4383-A6C6-F9ABC477379E}" dt="2021-07-24T05:59:20.336" v="9234" actId="1076"/>
          <ac:picMkLst>
            <pc:docMk/>
            <pc:sldMk cId="2667699651" sldId="276"/>
            <ac:picMk id="10" creationId="{421587E4-8465-A04D-8CB9-1FAF2F4C306D}"/>
          </ac:picMkLst>
        </pc:picChg>
      </pc:sldChg>
      <pc:sldChg chg="addSp delSp modSp add">
        <pc:chgData name="Sushant" userId="9fb19323-084a-4aea-8034-88a68d3f2533" providerId="ADAL" clId="{FC9ED260-ED45-4383-A6C6-F9ABC477379E}" dt="2021-07-24T06:15:10.691" v="9967"/>
        <pc:sldMkLst>
          <pc:docMk/>
          <pc:sldMk cId="1364762496" sldId="277"/>
        </pc:sldMkLst>
        <pc:spChg chg="mod">
          <ac:chgData name="Sushant" userId="9fb19323-084a-4aea-8034-88a68d3f2533" providerId="ADAL" clId="{FC9ED260-ED45-4383-A6C6-F9ABC477379E}" dt="2021-07-24T06:04:16.615" v="9360" actId="948"/>
          <ac:spMkLst>
            <pc:docMk/>
            <pc:sldMk cId="1364762496" sldId="277"/>
            <ac:spMk id="2" creationId="{DB553EF5-FADB-40AC-A25F-84440F226E4C}"/>
          </ac:spMkLst>
        </pc:spChg>
        <pc:spChg chg="add del mod modVis">
          <ac:chgData name="Sushant" userId="9fb19323-084a-4aea-8034-88a68d3f2533" providerId="ADAL" clId="{FC9ED260-ED45-4383-A6C6-F9ABC477379E}" dt="2021-07-24T06:04:15.100" v="9351"/>
          <ac:spMkLst>
            <pc:docMk/>
            <pc:sldMk cId="1364762496" sldId="277"/>
            <ac:spMk id="8" creationId="{388166F2-B610-4CB9-82DD-9763B0D8DDA3}"/>
          </ac:spMkLst>
        </pc:spChg>
        <pc:spChg chg="add del mod modVis">
          <ac:chgData name="Sushant" userId="9fb19323-084a-4aea-8034-88a68d3f2533" providerId="ADAL" clId="{FC9ED260-ED45-4383-A6C6-F9ABC477379E}" dt="2021-07-24T06:04:16.695" v="9399"/>
          <ac:spMkLst>
            <pc:docMk/>
            <pc:sldMk cId="1364762496" sldId="277"/>
            <ac:spMk id="9" creationId="{80A3E3CF-A09A-4A52-9597-4CC88BAB5E6F}"/>
          </ac:spMkLst>
        </pc:spChg>
        <pc:spChg chg="add mod">
          <ac:chgData name="Sushant" userId="9fb19323-084a-4aea-8034-88a68d3f2533" providerId="ADAL" clId="{FC9ED260-ED45-4383-A6C6-F9ABC477379E}" dt="2021-07-24T06:07:14.562" v="9405" actId="1076"/>
          <ac:spMkLst>
            <pc:docMk/>
            <pc:sldMk cId="1364762496" sldId="277"/>
            <ac:spMk id="15" creationId="{C6DB10CB-BC3E-482E-AC44-F9DAB9F5A25F}"/>
          </ac:spMkLst>
        </pc:spChg>
        <pc:spChg chg="add mod">
          <ac:chgData name="Sushant" userId="9fb19323-084a-4aea-8034-88a68d3f2533" providerId="ADAL" clId="{FC9ED260-ED45-4383-A6C6-F9ABC477379E}" dt="2021-07-24T06:07:14.562" v="9405" actId="1076"/>
          <ac:spMkLst>
            <pc:docMk/>
            <pc:sldMk cId="1364762496" sldId="277"/>
            <ac:spMk id="16" creationId="{769A7362-BA70-407B-905A-C9EAB8CC3782}"/>
          </ac:spMkLst>
        </pc:spChg>
        <pc:spChg chg="add mod">
          <ac:chgData name="Sushant" userId="9fb19323-084a-4aea-8034-88a68d3f2533" providerId="ADAL" clId="{FC9ED260-ED45-4383-A6C6-F9ABC477379E}" dt="2021-07-24T06:14:51.304" v="9931"/>
          <ac:spMkLst>
            <pc:docMk/>
            <pc:sldMk cId="1364762496" sldId="277"/>
            <ac:spMk id="17" creationId="{86FAC06E-87A7-4CF4-B415-CEEA5A6146E4}"/>
          </ac:spMkLst>
        </pc:spChg>
        <pc:spChg chg="add mod">
          <ac:chgData name="Sushant" userId="9fb19323-084a-4aea-8034-88a68d3f2533" providerId="ADAL" clId="{FC9ED260-ED45-4383-A6C6-F9ABC477379E}" dt="2021-07-24T06:07:14.562" v="9405" actId="1076"/>
          <ac:spMkLst>
            <pc:docMk/>
            <pc:sldMk cId="1364762496" sldId="277"/>
            <ac:spMk id="18" creationId="{6E311545-E071-4EA4-BA71-D9666AE19C8D}"/>
          </ac:spMkLst>
        </pc:spChg>
        <pc:spChg chg="add mod">
          <ac:chgData name="Sushant" userId="9fb19323-084a-4aea-8034-88a68d3f2533" providerId="ADAL" clId="{FC9ED260-ED45-4383-A6C6-F9ABC477379E}" dt="2021-07-24T06:07:14.562" v="9405" actId="1076"/>
          <ac:spMkLst>
            <pc:docMk/>
            <pc:sldMk cId="1364762496" sldId="277"/>
            <ac:spMk id="19" creationId="{655D345C-CE67-42DE-BF33-9FFBE97B1395}"/>
          </ac:spMkLst>
        </pc:spChg>
        <pc:spChg chg="add mod">
          <ac:chgData name="Sushant" userId="9fb19323-084a-4aea-8034-88a68d3f2533" providerId="ADAL" clId="{FC9ED260-ED45-4383-A6C6-F9ABC477379E}" dt="2021-07-24T06:07:14.562" v="9405" actId="1076"/>
          <ac:spMkLst>
            <pc:docMk/>
            <pc:sldMk cId="1364762496" sldId="277"/>
            <ac:spMk id="20" creationId="{E4EEC99E-673F-4304-9AE1-DD4EE8CC04AE}"/>
          </ac:spMkLst>
        </pc:spChg>
        <pc:spChg chg="add mod">
          <ac:chgData name="Sushant" userId="9fb19323-084a-4aea-8034-88a68d3f2533" providerId="ADAL" clId="{FC9ED260-ED45-4383-A6C6-F9ABC477379E}" dt="2021-07-24T06:07:14.562" v="9405" actId="1076"/>
          <ac:spMkLst>
            <pc:docMk/>
            <pc:sldMk cId="1364762496" sldId="277"/>
            <ac:spMk id="21" creationId="{94C69D26-51F6-4222-BDF0-6A8653973C62}"/>
          </ac:spMkLst>
        </pc:spChg>
        <pc:spChg chg="del">
          <ac:chgData name="Sushant" userId="9fb19323-084a-4aea-8034-88a68d3f2533" providerId="ADAL" clId="{FC9ED260-ED45-4383-A6C6-F9ABC477379E}" dt="2021-07-24T06:04:32.036" v="9403" actId="478"/>
          <ac:spMkLst>
            <pc:docMk/>
            <pc:sldMk cId="1364762496" sldId="277"/>
            <ac:spMk id="22" creationId="{D8A85EE4-DBB7-490F-8E8C-A956F71B8E80}"/>
          </ac:spMkLst>
        </pc:spChg>
        <pc:spChg chg="add mod">
          <ac:chgData name="Sushant" userId="9fb19323-084a-4aea-8034-88a68d3f2533" providerId="ADAL" clId="{FC9ED260-ED45-4383-A6C6-F9ABC477379E}" dt="2021-07-24T06:07:14.562" v="9405" actId="1076"/>
          <ac:spMkLst>
            <pc:docMk/>
            <pc:sldMk cId="1364762496" sldId="277"/>
            <ac:spMk id="23" creationId="{B3394C72-5A2F-4377-8FE3-563489CC3BBF}"/>
          </ac:spMkLst>
        </pc:spChg>
        <pc:spChg chg="add mod">
          <ac:chgData name="Sushant" userId="9fb19323-084a-4aea-8034-88a68d3f2533" providerId="ADAL" clId="{FC9ED260-ED45-4383-A6C6-F9ABC477379E}" dt="2021-07-24T06:07:14.562" v="9405" actId="1076"/>
          <ac:spMkLst>
            <pc:docMk/>
            <pc:sldMk cId="1364762496" sldId="277"/>
            <ac:spMk id="24" creationId="{ECE105BE-4FC9-48DC-8041-1E9ECF24AEF9}"/>
          </ac:spMkLst>
        </pc:spChg>
        <pc:spChg chg="del">
          <ac:chgData name="Sushant" userId="9fb19323-084a-4aea-8034-88a68d3f2533" providerId="ADAL" clId="{FC9ED260-ED45-4383-A6C6-F9ABC477379E}" dt="2021-07-24T06:04:32.036" v="9403" actId="478"/>
          <ac:spMkLst>
            <pc:docMk/>
            <pc:sldMk cId="1364762496" sldId="277"/>
            <ac:spMk id="25" creationId="{88B35585-1D48-4213-B53A-C72176F457F2}"/>
          </ac:spMkLst>
        </pc:spChg>
        <pc:spChg chg="del">
          <ac:chgData name="Sushant" userId="9fb19323-084a-4aea-8034-88a68d3f2533" providerId="ADAL" clId="{FC9ED260-ED45-4383-A6C6-F9ABC477379E}" dt="2021-07-24T06:04:32.036" v="9403" actId="478"/>
          <ac:spMkLst>
            <pc:docMk/>
            <pc:sldMk cId="1364762496" sldId="277"/>
            <ac:spMk id="26" creationId="{357A144B-4626-4A5C-9919-6FCF444D4D0C}"/>
          </ac:spMkLst>
        </pc:spChg>
        <pc:spChg chg="del">
          <ac:chgData name="Sushant" userId="9fb19323-084a-4aea-8034-88a68d3f2533" providerId="ADAL" clId="{FC9ED260-ED45-4383-A6C6-F9ABC477379E}" dt="2021-07-24T06:04:32.036" v="9403" actId="478"/>
          <ac:spMkLst>
            <pc:docMk/>
            <pc:sldMk cId="1364762496" sldId="277"/>
            <ac:spMk id="27" creationId="{255385AF-681D-4EFC-BC30-24E994C7CB5F}"/>
          </ac:spMkLst>
        </pc:spChg>
        <pc:spChg chg="add mod">
          <ac:chgData name="Sushant" userId="9fb19323-084a-4aea-8034-88a68d3f2533" providerId="ADAL" clId="{FC9ED260-ED45-4383-A6C6-F9ABC477379E}" dt="2021-07-24T06:07:14.562" v="9405" actId="1076"/>
          <ac:spMkLst>
            <pc:docMk/>
            <pc:sldMk cId="1364762496" sldId="277"/>
            <ac:spMk id="28" creationId="{2D804EDC-D617-410E-AE23-244EE62554AF}"/>
          </ac:spMkLst>
        </pc:spChg>
        <pc:spChg chg="add mod">
          <ac:chgData name="Sushant" userId="9fb19323-084a-4aea-8034-88a68d3f2533" providerId="ADAL" clId="{FC9ED260-ED45-4383-A6C6-F9ABC477379E}" dt="2021-07-24T06:12:39.058" v="9715" actId="113"/>
          <ac:spMkLst>
            <pc:docMk/>
            <pc:sldMk cId="1364762496" sldId="277"/>
            <ac:spMk id="29" creationId="{BF0EF3F9-AC28-4213-B532-64184E3CFEE4}"/>
          </ac:spMkLst>
        </pc:spChg>
        <pc:spChg chg="add mod">
          <ac:chgData name="Sushant" userId="9fb19323-084a-4aea-8034-88a68d3f2533" providerId="ADAL" clId="{FC9ED260-ED45-4383-A6C6-F9ABC477379E}" dt="2021-07-24T06:13:22.989" v="9818" actId="1076"/>
          <ac:spMkLst>
            <pc:docMk/>
            <pc:sldMk cId="1364762496" sldId="277"/>
            <ac:spMk id="30" creationId="{4B14D046-B645-466C-A147-DFBA41799E84}"/>
          </ac:spMkLst>
        </pc:spChg>
        <pc:spChg chg="add del mod">
          <ac:chgData name="Sushant" userId="9fb19323-084a-4aea-8034-88a68d3f2533" providerId="ADAL" clId="{FC9ED260-ED45-4383-A6C6-F9ABC477379E}" dt="2021-07-24T06:09:26.606" v="9544"/>
          <ac:spMkLst>
            <pc:docMk/>
            <pc:sldMk cId="1364762496" sldId="277"/>
            <ac:spMk id="31" creationId="{36F3D53A-3E80-487C-9B87-CB9934E1797D}"/>
          </ac:spMkLst>
        </pc:spChg>
        <pc:spChg chg="add del mod">
          <ac:chgData name="Sushant" userId="9fb19323-084a-4aea-8034-88a68d3f2533" providerId="ADAL" clId="{FC9ED260-ED45-4383-A6C6-F9ABC477379E}" dt="2021-07-24T06:15:10.691" v="9967"/>
          <ac:spMkLst>
            <pc:docMk/>
            <pc:sldMk cId="1364762496" sldId="277"/>
            <ac:spMk id="48" creationId="{87F39CB8-B2B3-4755-98A0-F996B798EF4E}"/>
          </ac:spMkLst>
        </pc:spChg>
        <pc:spChg chg="add mod">
          <ac:chgData name="Sushant" userId="9fb19323-084a-4aea-8034-88a68d3f2533" providerId="ADAL" clId="{FC9ED260-ED45-4383-A6C6-F9ABC477379E}" dt="2021-07-24T06:15:09.555" v="9965" actId="20577"/>
          <ac:spMkLst>
            <pc:docMk/>
            <pc:sldMk cId="1364762496" sldId="277"/>
            <ac:spMk id="49" creationId="{1D19DAD4-9F57-49C4-8ABD-B21189B4EAC3}"/>
          </ac:spMkLst>
        </pc:spChg>
        <pc:grpChg chg="add del mod">
          <ac:chgData name="Sushant" userId="9fb19323-084a-4aea-8034-88a68d3f2533" providerId="ADAL" clId="{FC9ED260-ED45-4383-A6C6-F9ABC477379E}" dt="2021-07-24T06:09:38.498" v="9545" actId="478"/>
          <ac:grpSpMkLst>
            <pc:docMk/>
            <pc:sldMk cId="1364762496" sldId="277"/>
            <ac:grpSpMk id="32" creationId="{999A270F-375E-436E-B687-653676BA35F2}"/>
          </ac:grpSpMkLst>
        </pc:grpChg>
        <pc:grpChg chg="add del mod">
          <ac:chgData name="Sushant" userId="9fb19323-084a-4aea-8034-88a68d3f2533" providerId="ADAL" clId="{FC9ED260-ED45-4383-A6C6-F9ABC477379E}" dt="2021-07-24T06:09:43.646" v="9546" actId="478"/>
          <ac:grpSpMkLst>
            <pc:docMk/>
            <pc:sldMk cId="1364762496" sldId="277"/>
            <ac:grpSpMk id="41" creationId="{3A53C006-EB91-463C-8EF7-4DECC793363F}"/>
          </ac:grpSpMkLst>
        </pc:grpChg>
        <pc:grpChg chg="add del mod">
          <ac:chgData name="Sushant" userId="9fb19323-084a-4aea-8034-88a68d3f2533" providerId="ADAL" clId="{FC9ED260-ED45-4383-A6C6-F9ABC477379E}" dt="2021-07-24T06:09:49.751" v="9547" actId="478"/>
          <ac:grpSpMkLst>
            <pc:docMk/>
            <pc:sldMk cId="1364762496" sldId="277"/>
            <ac:grpSpMk id="44" creationId="{BEF20BD6-B00D-49EE-8542-AF8C68C60B53}"/>
          </ac:grpSpMkLst>
        </pc:grpChg>
        <pc:graphicFrameChg chg="mod">
          <ac:chgData name="Sushant" userId="9fb19323-084a-4aea-8034-88a68d3f2533" providerId="ADAL" clId="{FC9ED260-ED45-4383-A6C6-F9ABC477379E}" dt="2021-07-24T06:04:16.698" v="9401"/>
          <ac:graphicFrameMkLst>
            <pc:docMk/>
            <pc:sldMk cId="1364762496" sldId="277"/>
            <ac:graphicFrameMk id="4" creationId="{87A626A2-A494-46FE-94EE-6BD0575CD1E8}"/>
          </ac:graphicFrameMkLst>
        </pc:graphicFrameChg>
        <pc:picChg chg="del">
          <ac:chgData name="Sushant" userId="9fb19323-084a-4aea-8034-88a68d3f2533" providerId="ADAL" clId="{FC9ED260-ED45-4383-A6C6-F9ABC477379E}" dt="2021-07-24T06:04:26.941" v="9402" actId="478"/>
          <ac:picMkLst>
            <pc:docMk/>
            <pc:sldMk cId="1364762496" sldId="277"/>
            <ac:picMk id="3" creationId="{6FB6EA6C-BF15-BE44-A4E1-B8719AA87C48}"/>
          </ac:picMkLst>
        </pc:picChg>
        <pc:picChg chg="del">
          <ac:chgData name="Sushant" userId="9fb19323-084a-4aea-8034-88a68d3f2533" providerId="ADAL" clId="{FC9ED260-ED45-4383-A6C6-F9ABC477379E}" dt="2021-07-24T06:04:26.941" v="9402" actId="478"/>
          <ac:picMkLst>
            <pc:docMk/>
            <pc:sldMk cId="1364762496" sldId="277"/>
            <ac:picMk id="6" creationId="{46B4748D-17D4-2B4A-9B02-A2CE3AC91AD1}"/>
          </ac:picMkLst>
        </pc:picChg>
        <pc:picChg chg="del">
          <ac:chgData name="Sushant" userId="9fb19323-084a-4aea-8034-88a68d3f2533" providerId="ADAL" clId="{FC9ED260-ED45-4383-A6C6-F9ABC477379E}" dt="2021-07-24T06:04:26.941" v="9402" actId="478"/>
          <ac:picMkLst>
            <pc:docMk/>
            <pc:sldMk cId="1364762496" sldId="277"/>
            <ac:picMk id="7" creationId="{423292D0-CBA2-8F43-9E27-0FE7FACBF51A}"/>
          </ac:picMkLst>
        </pc:picChg>
        <pc:picChg chg="del">
          <ac:chgData name="Sushant" userId="9fb19323-084a-4aea-8034-88a68d3f2533" providerId="ADAL" clId="{FC9ED260-ED45-4383-A6C6-F9ABC477379E}" dt="2021-07-24T06:04:26.941" v="9402" actId="478"/>
          <ac:picMkLst>
            <pc:docMk/>
            <pc:sldMk cId="1364762496" sldId="277"/>
            <ac:picMk id="10" creationId="{421587E4-8465-A04D-8CB9-1FAF2F4C306D}"/>
          </ac:picMkLst>
        </pc:picChg>
      </pc:sldChg>
      <pc:sldMasterChg chg="addSp delSp modSp modSldLayout">
        <pc:chgData name="Sushant" userId="9fb19323-084a-4aea-8034-88a68d3f2533" providerId="ADAL" clId="{FC9ED260-ED45-4383-A6C6-F9ABC477379E}" dt="2021-07-24T03:08:10.350" v="772" actId="478"/>
        <pc:sldMasterMkLst>
          <pc:docMk/>
          <pc:sldMasterMk cId="1729771039" sldId="2147483648"/>
        </pc:sldMasterMkLst>
        <pc:spChg chg="mod">
          <ac:chgData name="Sushant" userId="9fb19323-084a-4aea-8034-88a68d3f2533" providerId="ADAL" clId="{FC9ED260-ED45-4383-A6C6-F9ABC477379E}" dt="2021-07-24T02:54:03.974" v="2" actId="948"/>
          <ac:spMkLst>
            <pc:docMk/>
            <pc:sldMasterMk cId="1729771039" sldId="2147483648"/>
            <ac:spMk id="2" creationId="{D6CE5F0D-6356-764A-8FC7-790CB89109A5}"/>
          </ac:spMkLst>
        </pc:spChg>
        <pc:spChg chg="add del mod modVis">
          <ac:chgData name="Sushant" userId="9fb19323-084a-4aea-8034-88a68d3f2533" providerId="ADAL" clId="{FC9ED260-ED45-4383-A6C6-F9ABC477379E}" dt="2021-07-24T02:54:04.045" v="54"/>
          <ac:spMkLst>
            <pc:docMk/>
            <pc:sldMasterMk cId="1729771039" sldId="2147483648"/>
            <ac:spMk id="7" creationId="{753ED84A-F9AB-4EF7-A08D-F4702D5DBD76}"/>
          </ac:spMkLst>
        </pc:spChg>
        <pc:graphicFrameChg chg="add mod ord modVis">
          <ac:chgData name="Sushant" userId="9fb19323-084a-4aea-8034-88a68d3f2533" providerId="ADAL" clId="{FC9ED260-ED45-4383-A6C6-F9ABC477379E}" dt="2021-07-24T02:54:04.066" v="69"/>
          <ac:graphicFrameMkLst>
            <pc:docMk/>
            <pc:sldMasterMk cId="1729771039" sldId="2147483648"/>
            <ac:graphicFrameMk id="8" creationId="{C41BA05B-572E-488E-A24F-11085346DBCC}"/>
          </ac:graphicFrameMkLst>
        </pc:graphicFrameChg>
        <pc:sldLayoutChg chg="addSp delSp modSp">
          <pc:chgData name="Sushant" userId="9fb19323-084a-4aea-8034-88a68d3f2533" providerId="ADAL" clId="{FC9ED260-ED45-4383-A6C6-F9ABC477379E}" dt="2021-07-24T03:08:10.350" v="772" actId="478"/>
          <pc:sldLayoutMkLst>
            <pc:docMk/>
            <pc:sldMasterMk cId="1729771039" sldId="2147483648"/>
            <pc:sldLayoutMk cId="2137099061" sldId="2147483655"/>
          </pc:sldLayoutMkLst>
          <pc:spChg chg="del">
            <ac:chgData name="Sushant" userId="9fb19323-084a-4aea-8034-88a68d3f2533" providerId="ADAL" clId="{FC9ED260-ED45-4383-A6C6-F9ABC477379E}" dt="2021-07-24T03:08:10.350" v="772" actId="478"/>
            <ac:spMkLst>
              <pc:docMk/>
              <pc:sldMasterMk cId="1729771039" sldId="2147483648"/>
              <pc:sldLayoutMk cId="2137099061" sldId="2147483655"/>
              <ac:spMk id="3" creationId="{BA4F6D25-B494-3F4D-A52F-5A24E6AB9DD0}"/>
            </ac:spMkLst>
          </pc:spChg>
          <pc:spChg chg="add mod">
            <ac:chgData name="Sushant" userId="9fb19323-084a-4aea-8034-88a68d3f2533" providerId="ADAL" clId="{FC9ED260-ED45-4383-A6C6-F9ABC477379E}" dt="2021-07-24T03:06:22.974" v="579" actId="2085"/>
            <ac:spMkLst>
              <pc:docMk/>
              <pc:sldMasterMk cId="1729771039" sldId="2147483648"/>
              <pc:sldLayoutMk cId="2137099061" sldId="2147483655"/>
              <ac:spMk id="5" creationId="{A739CCFE-175F-4868-88E6-A9062DF11DD5}"/>
            </ac:spMkLst>
          </pc:spChg>
          <pc:spChg chg="add mod">
            <ac:chgData name="Sushant" userId="9fb19323-084a-4aea-8034-88a68d3f2533" providerId="ADAL" clId="{FC9ED260-ED45-4383-A6C6-F9ABC477379E}" dt="2021-07-24T03:07:26.956" v="582" actId="2085"/>
            <ac:spMkLst>
              <pc:docMk/>
              <pc:sldMasterMk cId="1729771039" sldId="2147483648"/>
              <pc:sldLayoutMk cId="2137099061" sldId="2147483655"/>
              <ac:spMk id="6" creationId="{7FE04898-69C2-48C2-BD20-50D51A711AAC}"/>
            </ac:spMkLst>
          </pc:spChg>
          <pc:spChg chg="add mod">
            <ac:chgData name="Sushant" userId="9fb19323-084a-4aea-8034-88a68d3f2533" providerId="ADAL" clId="{FC9ED260-ED45-4383-A6C6-F9ABC477379E}" dt="2021-07-24T03:07:24.619" v="581" actId="2085"/>
            <ac:spMkLst>
              <pc:docMk/>
              <pc:sldMasterMk cId="1729771039" sldId="2147483648"/>
              <pc:sldLayoutMk cId="2137099061" sldId="2147483655"/>
              <ac:spMk id="7" creationId="{A6CE2A4C-7358-4231-A7C0-3B75BF45FFFD}"/>
            </ac:spMkLst>
          </pc:spChg>
          <pc:spChg chg="add mod">
            <ac:chgData name="Sushant" userId="9fb19323-084a-4aea-8034-88a68d3f2533" providerId="ADAL" clId="{FC9ED260-ED45-4383-A6C6-F9ABC477379E}" dt="2021-07-24T03:07:40.718" v="584" actId="2085"/>
            <ac:spMkLst>
              <pc:docMk/>
              <pc:sldMasterMk cId="1729771039" sldId="2147483648"/>
              <pc:sldLayoutMk cId="2137099061" sldId="2147483655"/>
              <ac:spMk id="8" creationId="{B692E997-C773-4B6B-B6BE-49BA74C952A7}"/>
            </ac:spMkLst>
          </pc:spChg>
          <pc:spChg chg="add mod">
            <ac:chgData name="Sushant" userId="9fb19323-084a-4aea-8034-88a68d3f2533" providerId="ADAL" clId="{FC9ED260-ED45-4383-A6C6-F9ABC477379E}" dt="2021-07-24T03:08:00.859" v="730" actId="948"/>
            <ac:spMkLst>
              <pc:docMk/>
              <pc:sldMasterMk cId="1729771039" sldId="2147483648"/>
              <pc:sldLayoutMk cId="2137099061" sldId="2147483655"/>
              <ac:spMk id="9" creationId="{41361050-95A7-4FC8-A4C2-E19F95FA6938}"/>
            </ac:spMkLst>
          </pc:spChg>
          <pc:spChg chg="add del mod modVis">
            <ac:chgData name="Sushant" userId="9fb19323-084a-4aea-8034-88a68d3f2533" providerId="ADAL" clId="{FC9ED260-ED45-4383-A6C6-F9ABC477379E}" dt="2021-07-24T03:07:53.863" v="626"/>
            <ac:spMkLst>
              <pc:docMk/>
              <pc:sldMasterMk cId="1729771039" sldId="2147483648"/>
              <pc:sldLayoutMk cId="2137099061" sldId="2147483655"/>
              <ac:spMk id="10" creationId="{4E67F78C-9359-4AE3-98FF-5F9468A7850D}"/>
            </ac:spMkLst>
          </pc:spChg>
          <pc:spChg chg="add del mod modVis">
            <ac:chgData name="Sushant" userId="9fb19323-084a-4aea-8034-88a68d3f2533" providerId="ADAL" clId="{FC9ED260-ED45-4383-A6C6-F9ABC477379E}" dt="2021-07-24T03:07:55.130" v="683"/>
            <ac:spMkLst>
              <pc:docMk/>
              <pc:sldMasterMk cId="1729771039" sldId="2147483648"/>
              <pc:sldLayoutMk cId="2137099061" sldId="2147483655"/>
              <ac:spMk id="12" creationId="{D5C70001-D208-4745-84C6-8E458BF4CC51}"/>
            </ac:spMkLst>
          </pc:spChg>
          <pc:spChg chg="add del mod modVis">
            <ac:chgData name="Sushant" userId="9fb19323-084a-4aea-8034-88a68d3f2533" providerId="ADAL" clId="{FC9ED260-ED45-4383-A6C6-F9ABC477379E}" dt="2021-07-24T03:07:59.069" v="726"/>
            <ac:spMkLst>
              <pc:docMk/>
              <pc:sldMasterMk cId="1729771039" sldId="2147483648"/>
              <pc:sldLayoutMk cId="2137099061" sldId="2147483655"/>
              <ac:spMk id="13" creationId="{122C15B3-593D-4B2B-90A7-3906018DB13B}"/>
            </ac:spMkLst>
          </pc:spChg>
          <pc:spChg chg="add del mod modVis">
            <ac:chgData name="Sushant" userId="9fb19323-084a-4aea-8034-88a68d3f2533" providerId="ADAL" clId="{FC9ED260-ED45-4383-A6C6-F9ABC477379E}" dt="2021-07-24T03:08:00.906" v="769"/>
            <ac:spMkLst>
              <pc:docMk/>
              <pc:sldMasterMk cId="1729771039" sldId="2147483648"/>
              <pc:sldLayoutMk cId="2137099061" sldId="2147483655"/>
              <ac:spMk id="14" creationId="{31B52C4E-53AE-493D-99DC-B2A8C2659701}"/>
            </ac:spMkLst>
          </pc:spChg>
          <pc:graphicFrameChg chg="add mod ord modVis">
            <ac:chgData name="Sushant" userId="9fb19323-084a-4aea-8034-88a68d3f2533" providerId="ADAL" clId="{FC9ED260-ED45-4383-A6C6-F9ABC477379E}" dt="2021-07-24T03:08:00.908" v="771"/>
            <ac:graphicFrameMkLst>
              <pc:docMk/>
              <pc:sldMasterMk cId="1729771039" sldId="2147483648"/>
              <pc:sldLayoutMk cId="2137099061" sldId="2147483655"/>
              <ac:graphicFrameMk id="11" creationId="{F81E5DF7-569B-447D-8A4A-F301E0216246}"/>
            </ac:graphicFrameMkLst>
          </pc:graphicFrameChg>
        </pc:sldLayoutChg>
      </pc:sldMasterChg>
    </pc:docChg>
  </pc:docChgLst>
  <pc:docChgLst>
    <pc:chgData name="Gopala Goyal" userId="a4c6041a-9148-4312-a7d5-63483cb1f2ab" providerId="ADAL" clId="{C6D376A6-6810-7846-8466-FC582762F201}"/>
    <pc:docChg chg="undo custSel addSld modSld">
      <pc:chgData name="Gopala Goyal" userId="a4c6041a-9148-4312-a7d5-63483cb1f2ab" providerId="ADAL" clId="{C6D376A6-6810-7846-8466-FC582762F201}" dt="2021-07-24T06:00:26.528" v="402" actId="20577"/>
      <pc:docMkLst>
        <pc:docMk/>
      </pc:docMkLst>
      <pc:sldChg chg="addSp delSp modSp mod">
        <pc:chgData name="Gopala Goyal" userId="a4c6041a-9148-4312-a7d5-63483cb1f2ab" providerId="ADAL" clId="{C6D376A6-6810-7846-8466-FC582762F201}" dt="2021-07-24T05:36:07.229" v="367" actId="255"/>
        <pc:sldMkLst>
          <pc:docMk/>
          <pc:sldMk cId="3816649688" sldId="256"/>
        </pc:sldMkLst>
        <pc:spChg chg="mod">
          <ac:chgData name="Gopala Goyal" userId="a4c6041a-9148-4312-a7d5-63483cb1f2ab" providerId="ADAL" clId="{C6D376A6-6810-7846-8466-FC582762F201}" dt="2021-07-24T02:28:17.052" v="37" actId="26606"/>
          <ac:spMkLst>
            <pc:docMk/>
            <pc:sldMk cId="3816649688" sldId="256"/>
            <ac:spMk id="2" creationId="{D2454C6F-A9E9-C54D-8D0E-8F2CC6EB0669}"/>
          </ac:spMkLst>
        </pc:spChg>
        <pc:spChg chg="mod">
          <ac:chgData name="Gopala Goyal" userId="a4c6041a-9148-4312-a7d5-63483cb1f2ab" providerId="ADAL" clId="{C6D376A6-6810-7846-8466-FC582762F201}" dt="2021-07-24T05:36:07.229" v="367" actId="255"/>
          <ac:spMkLst>
            <pc:docMk/>
            <pc:sldMk cId="3816649688" sldId="256"/>
            <ac:spMk id="3" creationId="{B3D2C084-7ABD-2045-BBE4-A367A2C1ACDC}"/>
          </ac:spMkLst>
        </pc:spChg>
        <pc:spChg chg="add del">
          <ac:chgData name="Gopala Goyal" userId="a4c6041a-9148-4312-a7d5-63483cb1f2ab" providerId="ADAL" clId="{C6D376A6-6810-7846-8466-FC582762F201}" dt="2021-07-24T02:28:17.052" v="37" actId="26606"/>
          <ac:spMkLst>
            <pc:docMk/>
            <pc:sldMk cId="3816649688" sldId="256"/>
            <ac:spMk id="9" creationId="{C1DD1A8A-57D5-4A81-AD04-532B043C5611}"/>
          </ac:spMkLst>
        </pc:spChg>
        <pc:spChg chg="add del">
          <ac:chgData name="Gopala Goyal" userId="a4c6041a-9148-4312-a7d5-63483cb1f2ab" providerId="ADAL" clId="{C6D376A6-6810-7846-8466-FC582762F201}" dt="2021-07-24T02:28:17.052" v="37" actId="26606"/>
          <ac:spMkLst>
            <pc:docMk/>
            <pc:sldMk cId="3816649688" sldId="256"/>
            <ac:spMk id="11" creationId="{007891EC-4501-44ED-A8C8-B11B6DB767AB}"/>
          </ac:spMkLst>
        </pc:spChg>
        <pc:spChg chg="add del">
          <ac:chgData name="Gopala Goyal" userId="a4c6041a-9148-4312-a7d5-63483cb1f2ab" providerId="ADAL" clId="{C6D376A6-6810-7846-8466-FC582762F201}" dt="2021-07-24T02:28:17.018" v="36" actId="26606"/>
          <ac:spMkLst>
            <pc:docMk/>
            <pc:sldMk cId="3816649688" sldId="256"/>
            <ac:spMk id="16" creationId="{50CEED20-A22C-4FC3-BC0E-F4FE53FDEB97}"/>
          </ac:spMkLst>
        </pc:spChg>
        <pc:spChg chg="add del">
          <ac:chgData name="Gopala Goyal" userId="a4c6041a-9148-4312-a7d5-63483cb1f2ab" providerId="ADAL" clId="{C6D376A6-6810-7846-8466-FC582762F201}" dt="2021-07-24T02:28:17.018" v="36" actId="26606"/>
          <ac:spMkLst>
            <pc:docMk/>
            <pc:sldMk cId="3816649688" sldId="256"/>
            <ac:spMk id="23" creationId="{19C9EAEA-39D0-4B0E-A0EB-51E7B26740B1}"/>
          </ac:spMkLst>
        </pc:spChg>
        <pc:spChg chg="add del">
          <ac:chgData name="Gopala Goyal" userId="a4c6041a-9148-4312-a7d5-63483cb1f2ab" providerId="ADAL" clId="{C6D376A6-6810-7846-8466-FC582762F201}" dt="2021-07-24T02:28:17.018" v="36" actId="26606"/>
          <ac:spMkLst>
            <pc:docMk/>
            <pc:sldMk cId="3816649688" sldId="256"/>
            <ac:spMk id="25" creationId="{3873B707-463F-40B0-8227-E8CC6C67EB25}"/>
          </ac:spMkLst>
        </pc:spChg>
        <pc:spChg chg="add">
          <ac:chgData name="Gopala Goyal" userId="a4c6041a-9148-4312-a7d5-63483cb1f2ab" providerId="ADAL" clId="{C6D376A6-6810-7846-8466-FC582762F201}" dt="2021-07-24T02:28:17.052" v="37" actId="26606"/>
          <ac:spMkLst>
            <pc:docMk/>
            <pc:sldMk cId="3816649688" sldId="256"/>
            <ac:spMk id="27" creationId="{665DBBEF-238B-476B-96AB-8AAC3224ECEA}"/>
          </ac:spMkLst>
        </pc:spChg>
        <pc:spChg chg="add">
          <ac:chgData name="Gopala Goyal" userId="a4c6041a-9148-4312-a7d5-63483cb1f2ab" providerId="ADAL" clId="{C6D376A6-6810-7846-8466-FC582762F201}" dt="2021-07-24T02:28:17.052" v="37" actId="26606"/>
          <ac:spMkLst>
            <pc:docMk/>
            <pc:sldMk cId="3816649688" sldId="256"/>
            <ac:spMk id="28" creationId="{3FCFB1DE-0B7E-48CC-BA90-B2AB0889F9D6}"/>
          </ac:spMkLst>
        </pc:spChg>
        <pc:grpChg chg="add del">
          <ac:chgData name="Gopala Goyal" userId="a4c6041a-9148-4312-a7d5-63483cb1f2ab" providerId="ADAL" clId="{C6D376A6-6810-7846-8466-FC582762F201}" dt="2021-07-24T02:28:17.018" v="36" actId="26606"/>
          <ac:grpSpMkLst>
            <pc:docMk/>
            <pc:sldMk cId="3816649688" sldId="256"/>
            <ac:grpSpMk id="18" creationId="{032D8612-31EB-44CF-A1D0-14FD4C705424}"/>
          </ac:grpSpMkLst>
        </pc:grpChg>
        <pc:picChg chg="mod ord">
          <ac:chgData name="Gopala Goyal" userId="a4c6041a-9148-4312-a7d5-63483cb1f2ab" providerId="ADAL" clId="{C6D376A6-6810-7846-8466-FC582762F201}" dt="2021-07-24T02:28:17.052" v="37" actId="26606"/>
          <ac:picMkLst>
            <pc:docMk/>
            <pc:sldMk cId="3816649688" sldId="256"/>
            <ac:picMk id="5" creationId="{006AA31B-EACF-4F39-82A8-BB56CFE3C430}"/>
          </ac:picMkLst>
        </pc:picChg>
      </pc:sldChg>
      <pc:sldChg chg="addSp delSp modSp mod">
        <pc:chgData name="Gopala Goyal" userId="a4c6041a-9148-4312-a7d5-63483cb1f2ab" providerId="ADAL" clId="{C6D376A6-6810-7846-8466-FC582762F201}" dt="2021-07-24T02:37:19.533" v="73" actId="1036"/>
        <pc:sldMkLst>
          <pc:docMk/>
          <pc:sldMk cId="3065873243" sldId="257"/>
        </pc:sldMkLst>
        <pc:spChg chg="mod">
          <ac:chgData name="Gopala Goyal" userId="a4c6041a-9148-4312-a7d5-63483cb1f2ab" providerId="ADAL" clId="{C6D376A6-6810-7846-8466-FC582762F201}" dt="2021-07-24T02:26:47.585" v="34" actId="26606"/>
          <ac:spMkLst>
            <pc:docMk/>
            <pc:sldMk cId="3065873243" sldId="257"/>
            <ac:spMk id="2" creationId="{8AB9856D-595F-1944-BD4C-E0E1354C8B84}"/>
          </ac:spMkLst>
        </pc:spChg>
        <pc:spChg chg="mod">
          <ac:chgData name="Gopala Goyal" userId="a4c6041a-9148-4312-a7d5-63483cb1f2ab" providerId="ADAL" clId="{C6D376A6-6810-7846-8466-FC582762F201}" dt="2021-07-24T02:34:30.964" v="45" actId="1076"/>
          <ac:spMkLst>
            <pc:docMk/>
            <pc:sldMk cId="3065873243" sldId="257"/>
            <ac:spMk id="19" creationId="{30565F38-E337-1A48-A044-6EF1E440D409}"/>
          </ac:spMkLst>
        </pc:spChg>
        <pc:spChg chg="del">
          <ac:chgData name="Gopala Goyal" userId="a4c6041a-9148-4312-a7d5-63483cb1f2ab" providerId="ADAL" clId="{C6D376A6-6810-7846-8466-FC582762F201}" dt="2021-07-24T02:26:47.585" v="34" actId="26606"/>
          <ac:spMkLst>
            <pc:docMk/>
            <pc:sldMk cId="3065873243" sldId="257"/>
            <ac:spMk id="26" creationId="{F13C74B1-5B17-4795-BED0-7140497B445A}"/>
          </ac:spMkLst>
        </pc:spChg>
        <pc:spChg chg="del">
          <ac:chgData name="Gopala Goyal" userId="a4c6041a-9148-4312-a7d5-63483cb1f2ab" providerId="ADAL" clId="{C6D376A6-6810-7846-8466-FC582762F201}" dt="2021-07-24T02:26:47.585" v="34" actId="26606"/>
          <ac:spMkLst>
            <pc:docMk/>
            <pc:sldMk cId="3065873243" sldId="257"/>
            <ac:spMk id="28" creationId="{D4974D33-8DC5-464E-8C6D-BE58F0669C17}"/>
          </ac:spMkLst>
        </pc:spChg>
        <pc:picChg chg="add mod">
          <ac:chgData name="Gopala Goyal" userId="a4c6041a-9148-4312-a7d5-63483cb1f2ab" providerId="ADAL" clId="{C6D376A6-6810-7846-8466-FC582762F201}" dt="2021-07-24T02:37:19.533" v="73" actId="1036"/>
          <ac:picMkLst>
            <pc:docMk/>
            <pc:sldMk cId="3065873243" sldId="257"/>
            <ac:picMk id="3" creationId="{1A18376A-741B-6844-B147-E172A5A3E416}"/>
          </ac:picMkLst>
        </pc:picChg>
        <pc:picChg chg="add mod">
          <ac:chgData name="Gopala Goyal" userId="a4c6041a-9148-4312-a7d5-63483cb1f2ab" providerId="ADAL" clId="{C6D376A6-6810-7846-8466-FC582762F201}" dt="2021-07-24T02:37:17.821" v="71" actId="1036"/>
          <ac:picMkLst>
            <pc:docMk/>
            <pc:sldMk cId="3065873243" sldId="257"/>
            <ac:picMk id="4" creationId="{58A3A3D5-CD7D-304B-9C98-9FB79441BF25}"/>
          </ac:picMkLst>
        </pc:picChg>
        <pc:picChg chg="mod">
          <ac:chgData name="Gopala Goyal" userId="a4c6041a-9148-4312-a7d5-63483cb1f2ab" providerId="ADAL" clId="{C6D376A6-6810-7846-8466-FC582762F201}" dt="2021-07-24T02:26:47.585" v="34" actId="26606"/>
          <ac:picMkLst>
            <pc:docMk/>
            <pc:sldMk cId="3065873243" sldId="257"/>
            <ac:picMk id="20" creationId="{223EB0E8-E70D-4F10-A980-BBF1F7213804}"/>
          </ac:picMkLst>
        </pc:picChg>
        <pc:cxnChg chg="add">
          <ac:chgData name="Gopala Goyal" userId="a4c6041a-9148-4312-a7d5-63483cb1f2ab" providerId="ADAL" clId="{C6D376A6-6810-7846-8466-FC582762F201}" dt="2021-07-24T02:26:47.585" v="34" actId="26606"/>
          <ac:cxnSpMkLst>
            <pc:docMk/>
            <pc:sldMk cId="3065873243" sldId="257"/>
            <ac:cxnSpMk id="33" creationId="{A7F400EE-A8A5-48AF-B4D6-291B52C6F0B0}"/>
          </ac:cxnSpMkLst>
        </pc:cxnChg>
      </pc:sldChg>
      <pc:sldChg chg="addSp delSp modSp mod setClrOvrMap">
        <pc:chgData name="Gopala Goyal" userId="a4c6041a-9148-4312-a7d5-63483cb1f2ab" providerId="ADAL" clId="{C6D376A6-6810-7846-8466-FC582762F201}" dt="2021-07-24T02:52:10.341" v="241" actId="20577"/>
        <pc:sldMkLst>
          <pc:docMk/>
          <pc:sldMk cId="1917483240" sldId="258"/>
        </pc:sldMkLst>
        <pc:spChg chg="mod">
          <ac:chgData name="Gopala Goyal" userId="a4c6041a-9148-4312-a7d5-63483cb1f2ab" providerId="ADAL" clId="{C6D376A6-6810-7846-8466-FC582762F201}" dt="2021-07-24T02:49:49.345" v="200" actId="26606"/>
          <ac:spMkLst>
            <pc:docMk/>
            <pc:sldMk cId="1917483240" sldId="258"/>
            <ac:spMk id="2" creationId="{1211C82D-3EC3-A349-A260-A126C067E80A}"/>
          </ac:spMkLst>
        </pc:spChg>
        <pc:spChg chg="mod">
          <ac:chgData name="Gopala Goyal" userId="a4c6041a-9148-4312-a7d5-63483cb1f2ab" providerId="ADAL" clId="{C6D376A6-6810-7846-8466-FC582762F201}" dt="2021-07-24T02:50:43.932" v="211" actId="1076"/>
          <ac:spMkLst>
            <pc:docMk/>
            <pc:sldMk cId="1917483240" sldId="258"/>
            <ac:spMk id="3" creationId="{222FF69A-A1BD-4846-81A6-C0E104222C0C}"/>
          </ac:spMkLst>
        </pc:spChg>
        <pc:spChg chg="add mod">
          <ac:chgData name="Gopala Goyal" userId="a4c6041a-9148-4312-a7d5-63483cb1f2ab" providerId="ADAL" clId="{C6D376A6-6810-7846-8466-FC582762F201}" dt="2021-07-24T02:52:10.341" v="241" actId="20577"/>
          <ac:spMkLst>
            <pc:docMk/>
            <pc:sldMk cId="1917483240" sldId="258"/>
            <ac:spMk id="4" creationId="{126B10C1-E9BF-7E40-A08A-3BD46BC022B3}"/>
          </ac:spMkLst>
        </pc:spChg>
        <pc:spChg chg="add">
          <ac:chgData name="Gopala Goyal" userId="a4c6041a-9148-4312-a7d5-63483cb1f2ab" providerId="ADAL" clId="{C6D376A6-6810-7846-8466-FC582762F201}" dt="2021-07-24T02:49:49.345" v="200" actId="26606"/>
          <ac:spMkLst>
            <pc:docMk/>
            <pc:sldMk cId="1917483240" sldId="258"/>
            <ac:spMk id="6" creationId="{8B9AA7C6-5E5A-498E-A6DF-A943376E09BC}"/>
          </ac:spMkLst>
        </pc:spChg>
        <pc:spChg chg="add del">
          <ac:chgData name="Gopala Goyal" userId="a4c6041a-9148-4312-a7d5-63483cb1f2ab" providerId="ADAL" clId="{C6D376A6-6810-7846-8466-FC582762F201}" dt="2021-07-24T02:49:19.020" v="199" actId="26606"/>
          <ac:spMkLst>
            <pc:docMk/>
            <pc:sldMk cId="1917483240" sldId="258"/>
            <ac:spMk id="9" creationId="{3AD318CC-E2A8-4E27-9548-A047A78999B1}"/>
          </ac:spMkLst>
        </pc:spChg>
        <pc:spChg chg="add">
          <ac:chgData name="Gopala Goyal" userId="a4c6041a-9148-4312-a7d5-63483cb1f2ab" providerId="ADAL" clId="{C6D376A6-6810-7846-8466-FC582762F201}" dt="2021-07-24T02:49:49.345" v="200" actId="26606"/>
          <ac:spMkLst>
            <pc:docMk/>
            <pc:sldMk cId="1917483240" sldId="258"/>
            <ac:spMk id="10" creationId="{81E140AE-0ABF-47C8-BF32-7D2F0CF2BA44}"/>
          </ac:spMkLst>
        </pc:spChg>
        <pc:spChg chg="add del">
          <ac:chgData name="Gopala Goyal" userId="a4c6041a-9148-4312-a7d5-63483cb1f2ab" providerId="ADAL" clId="{C6D376A6-6810-7846-8466-FC582762F201}" dt="2021-07-24T02:49:19.020" v="199" actId="26606"/>
          <ac:spMkLst>
            <pc:docMk/>
            <pc:sldMk cId="1917483240" sldId="258"/>
            <ac:spMk id="15" creationId="{2C1BBA94-3F40-40AA-8BB9-E69E25E537C1}"/>
          </ac:spMkLst>
        </pc:spChg>
        <pc:spChg chg="add">
          <ac:chgData name="Gopala Goyal" userId="a4c6041a-9148-4312-a7d5-63483cb1f2ab" providerId="ADAL" clId="{C6D376A6-6810-7846-8466-FC582762F201}" dt="2021-07-24T02:49:49.345" v="200" actId="26606"/>
          <ac:spMkLst>
            <pc:docMk/>
            <pc:sldMk cId="1917483240" sldId="258"/>
            <ac:spMk id="17" creationId="{CBC4F608-B4B8-48C3-9572-C0F061B1CD99}"/>
          </ac:spMkLst>
        </pc:spChg>
        <pc:grpChg chg="add">
          <ac:chgData name="Gopala Goyal" userId="a4c6041a-9148-4312-a7d5-63483cb1f2ab" providerId="ADAL" clId="{C6D376A6-6810-7846-8466-FC582762F201}" dt="2021-07-24T02:49:49.345" v="200" actId="26606"/>
          <ac:grpSpMkLst>
            <pc:docMk/>
            <pc:sldMk cId="1917483240" sldId="258"/>
            <ac:grpSpMk id="7" creationId="{83EAB11A-76F7-48F4-9B4F-5BFDF4BF9670}"/>
          </ac:grpSpMkLst>
        </pc:grpChg>
        <pc:grpChg chg="add del">
          <ac:chgData name="Gopala Goyal" userId="a4c6041a-9148-4312-a7d5-63483cb1f2ab" providerId="ADAL" clId="{C6D376A6-6810-7846-8466-FC582762F201}" dt="2021-07-24T02:49:19.020" v="199" actId="26606"/>
          <ac:grpSpMkLst>
            <pc:docMk/>
            <pc:sldMk cId="1917483240" sldId="258"/>
            <ac:grpSpMk id="11" creationId="{B14B560F-9DD7-4302-A60B-EBD3EF59B073}"/>
          </ac:grpSpMkLst>
        </pc:grpChg>
      </pc:sldChg>
      <pc:sldChg chg="modSp mod">
        <pc:chgData name="Gopala Goyal" userId="a4c6041a-9148-4312-a7d5-63483cb1f2ab" providerId="ADAL" clId="{C6D376A6-6810-7846-8466-FC582762F201}" dt="2021-07-24T02:16:22.201" v="30" actId="20577"/>
        <pc:sldMkLst>
          <pc:docMk/>
          <pc:sldMk cId="4258302302" sldId="260"/>
        </pc:sldMkLst>
        <pc:spChg chg="mod">
          <ac:chgData name="Gopala Goyal" userId="a4c6041a-9148-4312-a7d5-63483cb1f2ab" providerId="ADAL" clId="{C6D376A6-6810-7846-8466-FC582762F201}" dt="2021-07-24T02:16:22.201" v="30" actId="20577"/>
          <ac:spMkLst>
            <pc:docMk/>
            <pc:sldMk cId="4258302302" sldId="260"/>
            <ac:spMk id="3" creationId="{B66CD8E3-88E8-B945-A762-77730473C7CB}"/>
          </ac:spMkLst>
        </pc:spChg>
      </pc:sldChg>
      <pc:sldChg chg="addSp modSp mod">
        <pc:chgData name="Gopala Goyal" userId="a4c6041a-9148-4312-a7d5-63483cb1f2ab" providerId="ADAL" clId="{C6D376A6-6810-7846-8466-FC582762F201}" dt="2021-07-24T03:19:54.523" v="251" actId="1076"/>
        <pc:sldMkLst>
          <pc:docMk/>
          <pc:sldMk cId="2424053626" sldId="262"/>
        </pc:sldMkLst>
        <pc:picChg chg="add mod">
          <ac:chgData name="Gopala Goyal" userId="a4c6041a-9148-4312-a7d5-63483cb1f2ab" providerId="ADAL" clId="{C6D376A6-6810-7846-8466-FC582762F201}" dt="2021-07-24T03:19:39.202" v="248" actId="14100"/>
          <ac:picMkLst>
            <pc:docMk/>
            <pc:sldMk cId="2424053626" sldId="262"/>
            <ac:picMk id="4" creationId="{8CCBA657-54C5-8842-8BD1-DF8E0097DFBA}"/>
          </ac:picMkLst>
        </pc:picChg>
        <pc:picChg chg="add mod">
          <ac:chgData name="Gopala Goyal" userId="a4c6041a-9148-4312-a7d5-63483cb1f2ab" providerId="ADAL" clId="{C6D376A6-6810-7846-8466-FC582762F201}" dt="2021-07-24T03:19:54.523" v="251" actId="1076"/>
          <ac:picMkLst>
            <pc:docMk/>
            <pc:sldMk cId="2424053626" sldId="262"/>
            <ac:picMk id="5" creationId="{BA495E3D-FDE6-0C49-BE43-1859B6A6FCC7}"/>
          </ac:picMkLst>
        </pc:picChg>
      </pc:sldChg>
      <pc:sldChg chg="addSp delSp modSp mod">
        <pc:chgData name="Gopala Goyal" userId="a4c6041a-9148-4312-a7d5-63483cb1f2ab" providerId="ADAL" clId="{C6D376A6-6810-7846-8466-FC582762F201}" dt="2021-07-24T02:12:35.208" v="24" actId="1076"/>
        <pc:sldMkLst>
          <pc:docMk/>
          <pc:sldMk cId="3626696024" sldId="265"/>
        </pc:sldMkLst>
        <pc:spChg chg="mod">
          <ac:chgData name="Gopala Goyal" userId="a4c6041a-9148-4312-a7d5-63483cb1f2ab" providerId="ADAL" clId="{C6D376A6-6810-7846-8466-FC582762F201}" dt="2021-07-24T02:06:59.360" v="0" actId="20577"/>
          <ac:spMkLst>
            <pc:docMk/>
            <pc:sldMk cId="3626696024" sldId="265"/>
            <ac:spMk id="3" creationId="{13116639-55BD-6545-A5A2-17512C2753F8}"/>
          </ac:spMkLst>
        </pc:spChg>
        <pc:picChg chg="add del mod">
          <ac:chgData name="Gopala Goyal" userId="a4c6041a-9148-4312-a7d5-63483cb1f2ab" providerId="ADAL" clId="{C6D376A6-6810-7846-8466-FC582762F201}" dt="2021-07-24T02:07:52.207" v="7" actId="21"/>
          <ac:picMkLst>
            <pc:docMk/>
            <pc:sldMk cId="3626696024" sldId="265"/>
            <ac:picMk id="5" creationId="{E5AFD29D-3793-BB40-B7F2-FF25AA2BEC24}"/>
          </ac:picMkLst>
        </pc:picChg>
        <pc:picChg chg="add mod">
          <ac:chgData name="Gopala Goyal" userId="a4c6041a-9148-4312-a7d5-63483cb1f2ab" providerId="ADAL" clId="{C6D376A6-6810-7846-8466-FC582762F201}" dt="2021-07-24T02:12:35.208" v="24" actId="1076"/>
          <ac:picMkLst>
            <pc:docMk/>
            <pc:sldMk cId="3626696024" sldId="265"/>
            <ac:picMk id="7" creationId="{B4EB605E-03FD-6446-B417-CB327196A5D5}"/>
          </ac:picMkLst>
        </pc:picChg>
      </pc:sldChg>
      <pc:sldChg chg="addSp delSp modSp new mod">
        <pc:chgData name="Gopala Goyal" userId="a4c6041a-9148-4312-a7d5-63483cb1f2ab" providerId="ADAL" clId="{C6D376A6-6810-7846-8466-FC582762F201}" dt="2021-07-24T02:09:34.824" v="20" actId="1076"/>
        <pc:sldMkLst>
          <pc:docMk/>
          <pc:sldMk cId="2262464194" sldId="267"/>
        </pc:sldMkLst>
        <pc:spChg chg="del">
          <ac:chgData name="Gopala Goyal" userId="a4c6041a-9148-4312-a7d5-63483cb1f2ab" providerId="ADAL" clId="{C6D376A6-6810-7846-8466-FC582762F201}" dt="2021-07-24T02:07:56.821" v="8" actId="478"/>
          <ac:spMkLst>
            <pc:docMk/>
            <pc:sldMk cId="2262464194" sldId="267"/>
            <ac:spMk id="2" creationId="{A80A8827-1E31-D04F-90DC-DCACED09A910}"/>
          </ac:spMkLst>
        </pc:spChg>
        <pc:spChg chg="del">
          <ac:chgData name="Gopala Goyal" userId="a4c6041a-9148-4312-a7d5-63483cb1f2ab" providerId="ADAL" clId="{C6D376A6-6810-7846-8466-FC582762F201}" dt="2021-07-24T02:07:56.821" v="8" actId="478"/>
          <ac:spMkLst>
            <pc:docMk/>
            <pc:sldMk cId="2262464194" sldId="267"/>
            <ac:spMk id="3" creationId="{D0E698C3-8E66-4546-9468-E7A7E9B83FB8}"/>
          </ac:spMkLst>
        </pc:spChg>
        <pc:picChg chg="add mod">
          <ac:chgData name="Gopala Goyal" userId="a4c6041a-9148-4312-a7d5-63483cb1f2ab" providerId="ADAL" clId="{C6D376A6-6810-7846-8466-FC582762F201}" dt="2021-07-24T02:08:01.001" v="10" actId="14100"/>
          <ac:picMkLst>
            <pc:docMk/>
            <pc:sldMk cId="2262464194" sldId="267"/>
            <ac:picMk id="4" creationId="{81D74B78-AB42-1F48-8A13-F67BB3F2E665}"/>
          </ac:picMkLst>
        </pc:picChg>
        <pc:picChg chg="add mod">
          <ac:chgData name="Gopala Goyal" userId="a4c6041a-9148-4312-a7d5-63483cb1f2ab" providerId="ADAL" clId="{C6D376A6-6810-7846-8466-FC582762F201}" dt="2021-07-24T02:08:54.982" v="15" actId="14100"/>
          <ac:picMkLst>
            <pc:docMk/>
            <pc:sldMk cId="2262464194" sldId="267"/>
            <ac:picMk id="6" creationId="{D74461C9-D856-3E41-882E-ECF912BF4D97}"/>
          </ac:picMkLst>
        </pc:picChg>
        <pc:picChg chg="add mod">
          <ac:chgData name="Gopala Goyal" userId="a4c6041a-9148-4312-a7d5-63483cb1f2ab" providerId="ADAL" clId="{C6D376A6-6810-7846-8466-FC582762F201}" dt="2021-07-24T02:09:34.824" v="20" actId="1076"/>
          <ac:picMkLst>
            <pc:docMk/>
            <pc:sldMk cId="2262464194" sldId="267"/>
            <ac:picMk id="8" creationId="{FB13CB16-31B9-B74E-A797-B5EF41AE2E44}"/>
          </ac:picMkLst>
        </pc:picChg>
      </pc:sldChg>
      <pc:sldChg chg="addSp modSp mod">
        <pc:chgData name="Gopala Goyal" userId="a4c6041a-9148-4312-a7d5-63483cb1f2ab" providerId="ADAL" clId="{C6D376A6-6810-7846-8466-FC582762F201}" dt="2021-07-24T03:20:44.146" v="254" actId="1076"/>
        <pc:sldMkLst>
          <pc:docMk/>
          <pc:sldMk cId="530549270" sldId="270"/>
        </pc:sldMkLst>
        <pc:picChg chg="add mod">
          <ac:chgData name="Gopala Goyal" userId="a4c6041a-9148-4312-a7d5-63483cb1f2ab" providerId="ADAL" clId="{C6D376A6-6810-7846-8466-FC582762F201}" dt="2021-07-24T03:17:04.187" v="246" actId="14100"/>
          <ac:picMkLst>
            <pc:docMk/>
            <pc:sldMk cId="530549270" sldId="270"/>
            <ac:picMk id="48" creationId="{5A26188D-9208-4C44-A407-C1A4435ECB14}"/>
          </ac:picMkLst>
        </pc:picChg>
        <pc:picChg chg="add mod">
          <ac:chgData name="Gopala Goyal" userId="a4c6041a-9148-4312-a7d5-63483cb1f2ab" providerId="ADAL" clId="{C6D376A6-6810-7846-8466-FC582762F201}" dt="2021-07-24T03:20:44.146" v="254" actId="1076"/>
          <ac:picMkLst>
            <pc:docMk/>
            <pc:sldMk cId="530549270" sldId="270"/>
            <ac:picMk id="59" creationId="{9A3BB04C-4B41-2C40-B37B-7DA443CAEC9C}"/>
          </ac:picMkLst>
        </pc:picChg>
      </pc:sldChg>
      <pc:sldChg chg="addSp modSp mod">
        <pc:chgData name="Gopala Goyal" userId="a4c6041a-9148-4312-a7d5-63483cb1f2ab" providerId="ADAL" clId="{C6D376A6-6810-7846-8466-FC582762F201}" dt="2021-07-24T04:17:47.960" v="262"/>
        <pc:sldMkLst>
          <pc:docMk/>
          <pc:sldMk cId="2990059952" sldId="271"/>
        </pc:sldMkLst>
        <pc:graphicFrameChg chg="add mod modGraphic">
          <ac:chgData name="Gopala Goyal" userId="a4c6041a-9148-4312-a7d5-63483cb1f2ab" providerId="ADAL" clId="{C6D376A6-6810-7846-8466-FC582762F201}" dt="2021-07-24T04:17:47.960" v="262"/>
          <ac:graphicFrameMkLst>
            <pc:docMk/>
            <pc:sldMk cId="2990059952" sldId="271"/>
            <ac:graphicFrameMk id="17" creationId="{FF3EFBED-1903-CD47-B258-C63FCAD27E8E}"/>
          </ac:graphicFrameMkLst>
        </pc:graphicFrameChg>
      </pc:sldChg>
      <pc:sldChg chg="addSp delSp modSp mod">
        <pc:chgData name="Gopala Goyal" userId="a4c6041a-9148-4312-a7d5-63483cb1f2ab" providerId="ADAL" clId="{C6D376A6-6810-7846-8466-FC582762F201}" dt="2021-07-24T04:27:24.113" v="286" actId="20577"/>
        <pc:sldMkLst>
          <pc:docMk/>
          <pc:sldMk cId="3212288735" sldId="272"/>
        </pc:sldMkLst>
        <pc:spChg chg="mod">
          <ac:chgData name="Gopala Goyal" userId="a4c6041a-9148-4312-a7d5-63483cb1f2ab" providerId="ADAL" clId="{C6D376A6-6810-7846-8466-FC582762F201}" dt="2021-07-24T04:24:48.345" v="277" actId="120"/>
          <ac:spMkLst>
            <pc:docMk/>
            <pc:sldMk cId="3212288735" sldId="272"/>
            <ac:spMk id="17" creationId="{99ACED47-B4D1-4772-B0A6-D006A27803FF}"/>
          </ac:spMkLst>
        </pc:spChg>
        <pc:spChg chg="add del mod">
          <ac:chgData name="Gopala Goyal" userId="a4c6041a-9148-4312-a7d5-63483cb1f2ab" providerId="ADAL" clId="{C6D376A6-6810-7846-8466-FC582762F201}" dt="2021-07-24T04:23:58.667" v="268"/>
          <ac:spMkLst>
            <pc:docMk/>
            <pc:sldMk cId="3212288735" sldId="272"/>
            <ac:spMk id="18" creationId="{BA9DD7BF-F541-7B4F-AD54-39F9C92EA589}"/>
          </ac:spMkLst>
        </pc:spChg>
        <pc:spChg chg="mod">
          <ac:chgData name="Gopala Goyal" userId="a4c6041a-9148-4312-a7d5-63483cb1f2ab" providerId="ADAL" clId="{C6D376A6-6810-7846-8466-FC582762F201}" dt="2021-07-24T04:27:24.113" v="286" actId="20577"/>
          <ac:spMkLst>
            <pc:docMk/>
            <pc:sldMk cId="3212288735" sldId="272"/>
            <ac:spMk id="26" creationId="{E021DF7A-8C3A-481A-98DE-40AAF7D41C81}"/>
          </ac:spMkLst>
        </pc:spChg>
        <pc:graphicFrameChg chg="add del mod modGraphic">
          <ac:chgData name="Gopala Goyal" userId="a4c6041a-9148-4312-a7d5-63483cb1f2ab" providerId="ADAL" clId="{C6D376A6-6810-7846-8466-FC582762F201}" dt="2021-07-24T04:23:55.702" v="266" actId="478"/>
          <ac:graphicFrameMkLst>
            <pc:docMk/>
            <pc:sldMk cId="3212288735" sldId="272"/>
            <ac:graphicFrameMk id="15" creationId="{026DB79E-7FC1-D04C-980E-45EFDB1161A5}"/>
          </ac:graphicFrameMkLst>
        </pc:graphicFrameChg>
      </pc:sldChg>
      <pc:sldChg chg="modSp mod">
        <pc:chgData name="Gopala Goyal" userId="a4c6041a-9148-4312-a7d5-63483cb1f2ab" providerId="ADAL" clId="{C6D376A6-6810-7846-8466-FC582762F201}" dt="2021-07-24T05:06:42.172" v="308" actId="113"/>
        <pc:sldMkLst>
          <pc:docMk/>
          <pc:sldMk cId="3297654295" sldId="274"/>
        </pc:sldMkLst>
        <pc:graphicFrameChg chg="mod modGraphic">
          <ac:chgData name="Gopala Goyal" userId="a4c6041a-9148-4312-a7d5-63483cb1f2ab" providerId="ADAL" clId="{C6D376A6-6810-7846-8466-FC582762F201}" dt="2021-07-24T05:06:42.172" v="308" actId="113"/>
          <ac:graphicFrameMkLst>
            <pc:docMk/>
            <pc:sldMk cId="3297654295" sldId="274"/>
            <ac:graphicFrameMk id="4" creationId="{0D772831-94D6-4AD2-854D-098C8E21FD84}"/>
          </ac:graphicFrameMkLst>
        </pc:graphicFrameChg>
      </pc:sldChg>
      <pc:sldChg chg="addSp delSp modSp mod">
        <pc:chgData name="Gopala Goyal" userId="a4c6041a-9148-4312-a7d5-63483cb1f2ab" providerId="ADAL" clId="{C6D376A6-6810-7846-8466-FC582762F201}" dt="2021-07-24T05:34:47.699" v="351" actId="20577"/>
        <pc:sldMkLst>
          <pc:docMk/>
          <pc:sldMk cId="2251132479" sldId="275"/>
        </pc:sldMkLst>
        <pc:spChg chg="mod">
          <ac:chgData name="Gopala Goyal" userId="a4c6041a-9148-4312-a7d5-63483cb1f2ab" providerId="ADAL" clId="{C6D376A6-6810-7846-8466-FC582762F201}" dt="2021-07-24T05:34:05.540" v="326" actId="1036"/>
          <ac:spMkLst>
            <pc:docMk/>
            <pc:sldMk cId="2251132479" sldId="275"/>
            <ac:spMk id="39" creationId="{D35A2584-2D6A-48B0-B019-B04403052E99}"/>
          </ac:spMkLst>
        </pc:spChg>
        <pc:spChg chg="mod">
          <ac:chgData name="Gopala Goyal" userId="a4c6041a-9148-4312-a7d5-63483cb1f2ab" providerId="ADAL" clId="{C6D376A6-6810-7846-8466-FC582762F201}" dt="2021-07-24T05:34:08.520" v="333" actId="1036"/>
          <ac:spMkLst>
            <pc:docMk/>
            <pc:sldMk cId="2251132479" sldId="275"/>
            <ac:spMk id="40" creationId="{7A5A94AB-D102-4A9B-A39E-BA482A8B69CD}"/>
          </ac:spMkLst>
        </pc:spChg>
        <pc:spChg chg="mod">
          <ac:chgData name="Gopala Goyal" userId="a4c6041a-9148-4312-a7d5-63483cb1f2ab" providerId="ADAL" clId="{C6D376A6-6810-7846-8466-FC582762F201}" dt="2021-07-24T05:34:47.699" v="351" actId="20577"/>
          <ac:spMkLst>
            <pc:docMk/>
            <pc:sldMk cId="2251132479" sldId="275"/>
            <ac:spMk id="44" creationId="{C33D577E-4BB3-4FB9-91AC-F46F237B4188}"/>
          </ac:spMkLst>
        </pc:spChg>
        <pc:picChg chg="add mod">
          <ac:chgData name="Gopala Goyal" userId="a4c6041a-9148-4312-a7d5-63483cb1f2ab" providerId="ADAL" clId="{C6D376A6-6810-7846-8466-FC582762F201}" dt="2021-07-24T05:12:51.803" v="311" actId="1076"/>
          <ac:picMkLst>
            <pc:docMk/>
            <pc:sldMk cId="2251132479" sldId="275"/>
            <ac:picMk id="4" creationId="{6AC145E3-D307-2048-BD6D-A7838018ABDD}"/>
          </ac:picMkLst>
        </pc:picChg>
        <pc:picChg chg="add mod">
          <ac:chgData name="Gopala Goyal" userId="a4c6041a-9148-4312-a7d5-63483cb1f2ab" providerId="ADAL" clId="{C6D376A6-6810-7846-8466-FC582762F201}" dt="2021-07-24T05:14:23.639" v="316" actId="1076"/>
          <ac:picMkLst>
            <pc:docMk/>
            <pc:sldMk cId="2251132479" sldId="275"/>
            <ac:picMk id="6" creationId="{56DF3EDF-9211-B24E-AFB3-9866B67E5730}"/>
          </ac:picMkLst>
        </pc:picChg>
        <pc:picChg chg="add del mod">
          <ac:chgData name="Gopala Goyal" userId="a4c6041a-9148-4312-a7d5-63483cb1f2ab" providerId="ADAL" clId="{C6D376A6-6810-7846-8466-FC582762F201}" dt="2021-07-24T05:27:19.930" v="322" actId="478"/>
          <ac:picMkLst>
            <pc:docMk/>
            <pc:sldMk cId="2251132479" sldId="275"/>
            <ac:picMk id="7" creationId="{B780B167-5556-7041-B49A-F07DD8E7C249}"/>
          </ac:picMkLst>
        </pc:picChg>
        <pc:picChg chg="add mod">
          <ac:chgData name="Gopala Goyal" userId="a4c6041a-9148-4312-a7d5-63483cb1f2ab" providerId="ADAL" clId="{C6D376A6-6810-7846-8466-FC582762F201}" dt="2021-07-24T05:16:41.376" v="321" actId="1076"/>
          <ac:picMkLst>
            <pc:docMk/>
            <pc:sldMk cId="2251132479" sldId="275"/>
            <ac:picMk id="9" creationId="{41B3BA6D-5B5C-C748-9499-4F085AA9392B}"/>
          </ac:picMkLst>
        </pc:picChg>
      </pc:sldChg>
      <pc:sldChg chg="addSp delSp modSp mod">
        <pc:chgData name="Gopala Goyal" userId="a4c6041a-9148-4312-a7d5-63483cb1f2ab" providerId="ADAL" clId="{C6D376A6-6810-7846-8466-FC582762F201}" dt="2021-07-24T06:00:26.528" v="402" actId="20577"/>
        <pc:sldMkLst>
          <pc:docMk/>
          <pc:sldMk cId="2667699651" sldId="276"/>
        </pc:sldMkLst>
        <pc:spChg chg="mod">
          <ac:chgData name="Gopala Goyal" userId="a4c6041a-9148-4312-a7d5-63483cb1f2ab" providerId="ADAL" clId="{C6D376A6-6810-7846-8466-FC582762F201}" dt="2021-07-24T06:00:26.528" v="402" actId="20577"/>
          <ac:spMkLst>
            <pc:docMk/>
            <pc:sldMk cId="2667699651" sldId="276"/>
            <ac:spMk id="27" creationId="{255385AF-681D-4EFC-BC30-24E994C7CB5F}"/>
          </ac:spMkLst>
        </pc:spChg>
        <pc:picChg chg="add mod">
          <ac:chgData name="Gopala Goyal" userId="a4c6041a-9148-4312-a7d5-63483cb1f2ab" providerId="ADAL" clId="{C6D376A6-6810-7846-8466-FC582762F201}" dt="2021-07-24T05:55:46.624" v="377" actId="1076"/>
          <ac:picMkLst>
            <pc:docMk/>
            <pc:sldMk cId="2667699651" sldId="276"/>
            <ac:picMk id="3" creationId="{6FB6EA6C-BF15-BE44-A4E1-B8719AA87C48}"/>
          </ac:picMkLst>
        </pc:picChg>
        <pc:picChg chg="add mod">
          <ac:chgData name="Gopala Goyal" userId="a4c6041a-9148-4312-a7d5-63483cb1f2ab" providerId="ADAL" clId="{C6D376A6-6810-7846-8466-FC582762F201}" dt="2021-07-24T05:55:35.808" v="375" actId="1076"/>
          <ac:picMkLst>
            <pc:docMk/>
            <pc:sldMk cId="2667699651" sldId="276"/>
            <ac:picMk id="6" creationId="{46B4748D-17D4-2B4A-9B02-A2CE3AC91AD1}"/>
          </ac:picMkLst>
        </pc:picChg>
        <pc:picChg chg="add mod">
          <ac:chgData name="Gopala Goyal" userId="a4c6041a-9148-4312-a7d5-63483cb1f2ab" providerId="ADAL" clId="{C6D376A6-6810-7846-8466-FC582762F201}" dt="2021-07-24T05:57:25.172" v="382" actId="1076"/>
          <ac:picMkLst>
            <pc:docMk/>
            <pc:sldMk cId="2667699651" sldId="276"/>
            <ac:picMk id="7" creationId="{423292D0-CBA2-8F43-9E27-0FE7FACBF51A}"/>
          </ac:picMkLst>
        </pc:picChg>
        <pc:picChg chg="add del">
          <ac:chgData name="Gopala Goyal" userId="a4c6041a-9148-4312-a7d5-63483cb1f2ab" providerId="ADAL" clId="{C6D376A6-6810-7846-8466-FC582762F201}" dt="2021-07-24T05:57:36.877" v="384"/>
          <ac:picMkLst>
            <pc:docMk/>
            <pc:sldMk cId="2667699651" sldId="276"/>
            <ac:picMk id="8" creationId="{97C8C74D-AB56-AE4F-B562-ADC97E2DA639}"/>
          </ac:picMkLst>
        </pc:picChg>
        <pc:picChg chg="add del mod">
          <ac:chgData name="Gopala Goyal" userId="a4c6041a-9148-4312-a7d5-63483cb1f2ab" providerId="ADAL" clId="{C6D376A6-6810-7846-8466-FC582762F201}" dt="2021-07-24T06:00:01.079" v="400" actId="478"/>
          <ac:picMkLst>
            <pc:docMk/>
            <pc:sldMk cId="2667699651" sldId="276"/>
            <ac:picMk id="9" creationId="{BB4DE5CD-7F28-A743-9956-7E0D5D9AB4E4}"/>
          </ac:picMkLst>
        </pc:picChg>
        <pc:picChg chg="add mod">
          <ac:chgData name="Gopala Goyal" userId="a4c6041a-9148-4312-a7d5-63483cb1f2ab" providerId="ADAL" clId="{C6D376A6-6810-7846-8466-FC582762F201}" dt="2021-07-24T05:59:00.898" v="393" actId="1076"/>
          <ac:picMkLst>
            <pc:docMk/>
            <pc:sldMk cId="2667699651" sldId="276"/>
            <ac:picMk id="10" creationId="{421587E4-8465-A04D-8CB9-1FAF2F4C306D}"/>
          </ac:picMkLst>
        </pc:picChg>
        <pc:picChg chg="add del mod">
          <ac:chgData name="Gopala Goyal" userId="a4c6041a-9148-4312-a7d5-63483cb1f2ab" providerId="ADAL" clId="{C6D376A6-6810-7846-8466-FC582762F201}" dt="2021-07-24T06:00:12.983" v="401" actId="478"/>
          <ac:picMkLst>
            <pc:docMk/>
            <pc:sldMk cId="2667699651" sldId="276"/>
            <ac:picMk id="11" creationId="{113D942A-EE9D-FA43-B0AA-8B3FC8E61621}"/>
          </ac:picMkLst>
        </pc:picChg>
      </pc:sldChg>
    </pc:docChg>
  </pc:docChgLst>
  <pc:docChgLst>
    <pc:chgData name="Faiza Shallwani" userId="S::21fs20@queensu.ca::31de7e11-baf0-46c5-99b8-eac5c5cfad97" providerId="AD" clId="Web-{5A7DAC25-28E9-DBD4-CD55-602F7A342E3B}"/>
    <pc:docChg chg="modSld">
      <pc:chgData name="Faiza Shallwani" userId="S::21fs20@queensu.ca::31de7e11-baf0-46c5-99b8-eac5c5cfad97" providerId="AD" clId="Web-{5A7DAC25-28E9-DBD4-CD55-602F7A342E3B}" dt="2021-07-24T18:28:42.285" v="22" actId="20577"/>
      <pc:docMkLst>
        <pc:docMk/>
      </pc:docMkLst>
      <pc:sldChg chg="modSp">
        <pc:chgData name="Faiza Shallwani" userId="S::21fs20@queensu.ca::31de7e11-baf0-46c5-99b8-eac5c5cfad97" providerId="AD" clId="Web-{5A7DAC25-28E9-DBD4-CD55-602F7A342E3B}" dt="2021-07-24T18:26:17.393" v="14" actId="20577"/>
        <pc:sldMkLst>
          <pc:docMk/>
          <pc:sldMk cId="530549270" sldId="270"/>
        </pc:sldMkLst>
        <pc:spChg chg="mod">
          <ac:chgData name="Faiza Shallwani" userId="S::21fs20@queensu.ca::31de7e11-baf0-46c5-99b8-eac5c5cfad97" providerId="AD" clId="Web-{5A7DAC25-28E9-DBD4-CD55-602F7A342E3B}" dt="2021-07-24T18:25:45.689" v="10" actId="20577"/>
          <ac:spMkLst>
            <pc:docMk/>
            <pc:sldMk cId="530549270" sldId="270"/>
            <ac:spMk id="4" creationId="{0BEE5E8D-FA46-4EF8-9D41-1BB925DA5635}"/>
          </ac:spMkLst>
        </pc:spChg>
        <pc:spChg chg="mod">
          <ac:chgData name="Faiza Shallwani" userId="S::21fs20@queensu.ca::31de7e11-baf0-46c5-99b8-eac5c5cfad97" providerId="AD" clId="Web-{5A7DAC25-28E9-DBD4-CD55-602F7A342E3B}" dt="2021-07-24T18:25:58.268" v="11" actId="20577"/>
          <ac:spMkLst>
            <pc:docMk/>
            <pc:sldMk cId="530549270" sldId="270"/>
            <ac:spMk id="53" creationId="{E16D4776-7060-45CC-ADC1-83B5A26FB4BE}"/>
          </ac:spMkLst>
        </pc:spChg>
        <pc:spChg chg="mod">
          <ac:chgData name="Faiza Shallwani" userId="S::21fs20@queensu.ca::31de7e11-baf0-46c5-99b8-eac5c5cfad97" providerId="AD" clId="Web-{5A7DAC25-28E9-DBD4-CD55-602F7A342E3B}" dt="2021-07-24T18:26:17.393" v="14" actId="20577"/>
          <ac:spMkLst>
            <pc:docMk/>
            <pc:sldMk cId="530549270" sldId="270"/>
            <ac:spMk id="60" creationId="{9040C29D-6280-416D-8020-92C3C5411966}"/>
          </ac:spMkLst>
        </pc:spChg>
      </pc:sldChg>
      <pc:sldChg chg="modSp">
        <pc:chgData name="Faiza Shallwani" userId="S::21fs20@queensu.ca::31de7e11-baf0-46c5-99b8-eac5c5cfad97" providerId="AD" clId="Web-{5A7DAC25-28E9-DBD4-CD55-602F7A342E3B}" dt="2021-07-24T18:27:46.378" v="18" actId="20577"/>
        <pc:sldMkLst>
          <pc:docMk/>
          <pc:sldMk cId="2251132479" sldId="275"/>
        </pc:sldMkLst>
        <pc:spChg chg="mod">
          <ac:chgData name="Faiza Shallwani" userId="S::21fs20@queensu.ca::31de7e11-baf0-46c5-99b8-eac5c5cfad97" providerId="AD" clId="Web-{5A7DAC25-28E9-DBD4-CD55-602F7A342E3B}" dt="2021-07-24T18:27:19.143" v="16" actId="20577"/>
          <ac:spMkLst>
            <pc:docMk/>
            <pc:sldMk cId="2251132479" sldId="275"/>
            <ac:spMk id="2" creationId="{CA903832-EF79-4F63-A465-B4772C5863FC}"/>
          </ac:spMkLst>
        </pc:spChg>
        <pc:spChg chg="mod">
          <ac:chgData name="Faiza Shallwani" userId="S::21fs20@queensu.ca::31de7e11-baf0-46c5-99b8-eac5c5cfad97" providerId="AD" clId="Web-{5A7DAC25-28E9-DBD4-CD55-602F7A342E3B}" dt="2021-07-24T18:27:46.378" v="18" actId="20577"/>
          <ac:spMkLst>
            <pc:docMk/>
            <pc:sldMk cId="2251132479" sldId="275"/>
            <ac:spMk id="44" creationId="{C33D577E-4BB3-4FB9-91AC-F46F237B4188}"/>
          </ac:spMkLst>
        </pc:spChg>
      </pc:sldChg>
      <pc:sldChg chg="modSp">
        <pc:chgData name="Faiza Shallwani" userId="S::21fs20@queensu.ca::31de7e11-baf0-46c5-99b8-eac5c5cfad97" providerId="AD" clId="Web-{5A7DAC25-28E9-DBD4-CD55-602F7A342E3B}" dt="2021-07-24T18:28:18.019" v="20" actId="20577"/>
        <pc:sldMkLst>
          <pc:docMk/>
          <pc:sldMk cId="2667699651" sldId="276"/>
        </pc:sldMkLst>
        <pc:spChg chg="mod">
          <ac:chgData name="Faiza Shallwani" userId="S::21fs20@queensu.ca::31de7e11-baf0-46c5-99b8-eac5c5cfad97" providerId="AD" clId="Web-{5A7DAC25-28E9-DBD4-CD55-602F7A342E3B}" dt="2021-07-24T18:28:18.019" v="20" actId="20577"/>
          <ac:spMkLst>
            <pc:docMk/>
            <pc:sldMk cId="2667699651" sldId="276"/>
            <ac:spMk id="25" creationId="{88B35585-1D48-4213-B53A-C72176F457F2}"/>
          </ac:spMkLst>
        </pc:spChg>
      </pc:sldChg>
      <pc:sldChg chg="modSp">
        <pc:chgData name="Faiza Shallwani" userId="S::21fs20@queensu.ca::31de7e11-baf0-46c5-99b8-eac5c5cfad97" providerId="AD" clId="Web-{5A7DAC25-28E9-DBD4-CD55-602F7A342E3B}" dt="2021-07-24T18:28:42.285" v="22" actId="20577"/>
        <pc:sldMkLst>
          <pc:docMk/>
          <pc:sldMk cId="1364762496" sldId="277"/>
        </pc:sldMkLst>
        <pc:spChg chg="mod">
          <ac:chgData name="Faiza Shallwani" userId="S::21fs20@queensu.ca::31de7e11-baf0-46c5-99b8-eac5c5cfad97" providerId="AD" clId="Web-{5A7DAC25-28E9-DBD4-CD55-602F7A342E3B}" dt="2021-07-24T18:28:42.285" v="22" actId="20577"/>
          <ac:spMkLst>
            <pc:docMk/>
            <pc:sldMk cId="1364762496" sldId="277"/>
            <ac:spMk id="29" creationId="{BF0EF3F9-AC28-4213-B532-64184E3CFEE4}"/>
          </ac:spMkLst>
        </pc:spChg>
      </pc:sldChg>
    </pc:docChg>
  </pc:docChgLst>
  <pc:docChgLst>
    <pc:chgData name="Gopala Goyal" userId="S::20gg12@queensu.ca::a4c6041a-9148-4312-a7d5-63483cb1f2ab" providerId="AD" clId="Web-{AD22025E-8AC1-4F13-C488-DD17A04F7445}"/>
    <pc:docChg chg="modSld">
      <pc:chgData name="Gopala Goyal" userId="S::20gg12@queensu.ca::a4c6041a-9148-4312-a7d5-63483cb1f2ab" providerId="AD" clId="Web-{AD22025E-8AC1-4F13-C488-DD17A04F7445}" dt="2021-07-24T02:00:15.741" v="318" actId="20577"/>
      <pc:docMkLst>
        <pc:docMk/>
      </pc:docMkLst>
      <pc:sldChg chg="addSp modSp mod setBg">
        <pc:chgData name="Gopala Goyal" userId="S::20gg12@queensu.ca::a4c6041a-9148-4312-a7d5-63483cb1f2ab" providerId="AD" clId="Web-{AD22025E-8AC1-4F13-C488-DD17A04F7445}" dt="2021-07-23T20:14:49.840" v="27"/>
        <pc:sldMkLst>
          <pc:docMk/>
          <pc:sldMk cId="3816649688" sldId="256"/>
        </pc:sldMkLst>
        <pc:spChg chg="mod">
          <ac:chgData name="Gopala Goyal" userId="S::20gg12@queensu.ca::a4c6041a-9148-4312-a7d5-63483cb1f2ab" providerId="AD" clId="Web-{AD22025E-8AC1-4F13-C488-DD17A04F7445}" dt="2021-07-23T20:14:49.840" v="27"/>
          <ac:spMkLst>
            <pc:docMk/>
            <pc:sldMk cId="3816649688" sldId="256"/>
            <ac:spMk id="2" creationId="{D2454C6F-A9E9-C54D-8D0E-8F2CC6EB0669}"/>
          </ac:spMkLst>
        </pc:spChg>
        <pc:spChg chg="mod">
          <ac:chgData name="Gopala Goyal" userId="S::20gg12@queensu.ca::a4c6041a-9148-4312-a7d5-63483cb1f2ab" providerId="AD" clId="Web-{AD22025E-8AC1-4F13-C488-DD17A04F7445}" dt="2021-07-23T20:14:49.840" v="27"/>
          <ac:spMkLst>
            <pc:docMk/>
            <pc:sldMk cId="3816649688" sldId="256"/>
            <ac:spMk id="3" creationId="{B3D2C084-7ABD-2045-BBE4-A367A2C1ACDC}"/>
          </ac:spMkLst>
        </pc:spChg>
        <pc:spChg chg="add">
          <ac:chgData name="Gopala Goyal" userId="S::20gg12@queensu.ca::a4c6041a-9148-4312-a7d5-63483cb1f2ab" providerId="AD" clId="Web-{AD22025E-8AC1-4F13-C488-DD17A04F7445}" dt="2021-07-23T20:14:49.840" v="27"/>
          <ac:spMkLst>
            <pc:docMk/>
            <pc:sldMk cId="3816649688" sldId="256"/>
            <ac:spMk id="9" creationId="{C1DD1A8A-57D5-4A81-AD04-532B043C5611}"/>
          </ac:spMkLst>
        </pc:spChg>
        <pc:spChg chg="add">
          <ac:chgData name="Gopala Goyal" userId="S::20gg12@queensu.ca::a4c6041a-9148-4312-a7d5-63483cb1f2ab" providerId="AD" clId="Web-{AD22025E-8AC1-4F13-C488-DD17A04F7445}" dt="2021-07-23T20:14:49.840" v="27"/>
          <ac:spMkLst>
            <pc:docMk/>
            <pc:sldMk cId="3816649688" sldId="256"/>
            <ac:spMk id="11" creationId="{007891EC-4501-44ED-A8C8-B11B6DB767AB}"/>
          </ac:spMkLst>
        </pc:spChg>
        <pc:picChg chg="add">
          <ac:chgData name="Gopala Goyal" userId="S::20gg12@queensu.ca::a4c6041a-9148-4312-a7d5-63483cb1f2ab" providerId="AD" clId="Web-{AD22025E-8AC1-4F13-C488-DD17A04F7445}" dt="2021-07-23T20:14:49.840" v="27"/>
          <ac:picMkLst>
            <pc:docMk/>
            <pc:sldMk cId="3816649688" sldId="256"/>
            <ac:picMk id="5" creationId="{006AA31B-EACF-4F39-82A8-BB56CFE3C430}"/>
          </ac:picMkLst>
        </pc:picChg>
      </pc:sldChg>
      <pc:sldChg chg="modSp">
        <pc:chgData name="Gopala Goyal" userId="S::20gg12@queensu.ca::a4c6041a-9148-4312-a7d5-63483cb1f2ab" providerId="AD" clId="Web-{AD22025E-8AC1-4F13-C488-DD17A04F7445}" dt="2021-07-24T01:59:07.100" v="317" actId="20577"/>
        <pc:sldMkLst>
          <pc:docMk/>
          <pc:sldMk cId="445504766" sldId="264"/>
        </pc:sldMkLst>
        <pc:spChg chg="mod">
          <ac:chgData name="Gopala Goyal" userId="S::20gg12@queensu.ca::a4c6041a-9148-4312-a7d5-63483cb1f2ab" providerId="AD" clId="Web-{AD22025E-8AC1-4F13-C488-DD17A04F7445}" dt="2021-07-24T01:59:07.100" v="317" actId="20577"/>
          <ac:spMkLst>
            <pc:docMk/>
            <pc:sldMk cId="445504766" sldId="264"/>
            <ac:spMk id="3" creationId="{9141D736-F1D6-F04F-A118-F7DE245C7141}"/>
          </ac:spMkLst>
        </pc:spChg>
      </pc:sldChg>
      <pc:sldChg chg="modSp">
        <pc:chgData name="Gopala Goyal" userId="S::20gg12@queensu.ca::a4c6041a-9148-4312-a7d5-63483cb1f2ab" providerId="AD" clId="Web-{AD22025E-8AC1-4F13-C488-DD17A04F7445}" dt="2021-07-24T02:00:15.741" v="318" actId="20577"/>
        <pc:sldMkLst>
          <pc:docMk/>
          <pc:sldMk cId="3626696024" sldId="265"/>
        </pc:sldMkLst>
        <pc:spChg chg="mod">
          <ac:chgData name="Gopala Goyal" userId="S::20gg12@queensu.ca::a4c6041a-9148-4312-a7d5-63483cb1f2ab" providerId="AD" clId="Web-{AD22025E-8AC1-4F13-C488-DD17A04F7445}" dt="2021-07-24T02:00:15.741" v="318" actId="20577"/>
          <ac:spMkLst>
            <pc:docMk/>
            <pc:sldMk cId="3626696024" sldId="265"/>
            <ac:spMk id="3" creationId="{13116639-55BD-6545-A5A2-17512C2753F8}"/>
          </ac:spMkLst>
        </pc:spChg>
      </pc:sldChg>
    </pc:docChg>
  </pc:docChgLst>
  <pc:docChgLst>
    <pc:chgData name="Zhilin Fang" userId="S::20zf10@queensu.ca::ff93f5d9-d84d-4139-b80c-efbff15678f0" providerId="AD" clId="Web-{86FCD054-E217-E457-7BA9-2D4B02D8CBCC}"/>
    <pc:docChg chg="addSld delSld modSld">
      <pc:chgData name="Zhilin Fang" userId="S::20zf10@queensu.ca::ff93f5d9-d84d-4139-b80c-efbff15678f0" providerId="AD" clId="Web-{86FCD054-E217-E457-7BA9-2D4B02D8CBCC}" dt="2021-07-25T19:51:32.712" v="262" actId="1076"/>
      <pc:docMkLst>
        <pc:docMk/>
      </pc:docMkLst>
      <pc:sldChg chg="modSp">
        <pc:chgData name="Zhilin Fang" userId="S::20zf10@queensu.ca::ff93f5d9-d84d-4139-b80c-efbff15678f0" providerId="AD" clId="Web-{86FCD054-E217-E457-7BA9-2D4B02D8CBCC}" dt="2021-07-25T19:19:41.892" v="137"/>
        <pc:sldMkLst>
          <pc:docMk/>
          <pc:sldMk cId="2990059952" sldId="271"/>
        </pc:sldMkLst>
        <pc:graphicFrameChg chg="mod modGraphic">
          <ac:chgData name="Zhilin Fang" userId="S::20zf10@queensu.ca::ff93f5d9-d84d-4139-b80c-efbff15678f0" providerId="AD" clId="Web-{86FCD054-E217-E457-7BA9-2D4B02D8CBCC}" dt="2021-07-25T19:19:41.892" v="137"/>
          <ac:graphicFrameMkLst>
            <pc:docMk/>
            <pc:sldMk cId="2990059952" sldId="271"/>
            <ac:graphicFrameMk id="17" creationId="{FF3EFBED-1903-CD47-B258-C63FCAD27E8E}"/>
          </ac:graphicFrameMkLst>
        </pc:graphicFrameChg>
      </pc:sldChg>
      <pc:sldChg chg="addSp delSp modSp">
        <pc:chgData name="Zhilin Fang" userId="S::20zf10@queensu.ca::ff93f5d9-d84d-4139-b80c-efbff15678f0" providerId="AD" clId="Web-{86FCD054-E217-E457-7BA9-2D4B02D8CBCC}" dt="2021-07-25T19:24:48.673" v="182" actId="1076"/>
        <pc:sldMkLst>
          <pc:docMk/>
          <pc:sldMk cId="3212288735" sldId="272"/>
        </pc:sldMkLst>
        <pc:spChg chg="add del">
          <ac:chgData name="Zhilin Fang" userId="S::20zf10@queensu.ca::ff93f5d9-d84d-4139-b80c-efbff15678f0" providerId="AD" clId="Web-{86FCD054-E217-E457-7BA9-2D4B02D8CBCC}" dt="2021-07-25T19:21:37.282" v="152"/>
          <ac:spMkLst>
            <pc:docMk/>
            <pc:sldMk cId="3212288735" sldId="272"/>
            <ac:spMk id="14" creationId="{E41C9F52-3DDC-428D-9C37-147A2FB11F88}"/>
          </ac:spMkLst>
        </pc:spChg>
        <pc:spChg chg="mod">
          <ac:chgData name="Zhilin Fang" userId="S::20zf10@queensu.ca::ff93f5d9-d84d-4139-b80c-efbff15678f0" providerId="AD" clId="Web-{86FCD054-E217-E457-7BA9-2D4B02D8CBCC}" dt="2021-07-25T19:23:56.298" v="173" actId="1076"/>
          <ac:spMkLst>
            <pc:docMk/>
            <pc:sldMk cId="3212288735" sldId="272"/>
            <ac:spMk id="17" creationId="{99ACED47-B4D1-4772-B0A6-D006A27803FF}"/>
          </ac:spMkLst>
        </pc:spChg>
        <pc:spChg chg="mod">
          <ac:chgData name="Zhilin Fang" userId="S::20zf10@queensu.ca::ff93f5d9-d84d-4139-b80c-efbff15678f0" providerId="AD" clId="Web-{86FCD054-E217-E457-7BA9-2D4B02D8CBCC}" dt="2021-07-25T19:24:10.595" v="176" actId="1076"/>
          <ac:spMkLst>
            <pc:docMk/>
            <pc:sldMk cId="3212288735" sldId="272"/>
            <ac:spMk id="22" creationId="{3865B671-84FB-4DD0-ADA8-0C497CD8CAF3}"/>
          </ac:spMkLst>
        </pc:spChg>
        <pc:spChg chg="mod">
          <ac:chgData name="Zhilin Fang" userId="S::20zf10@queensu.ca::ff93f5d9-d84d-4139-b80c-efbff15678f0" providerId="AD" clId="Web-{86FCD054-E217-E457-7BA9-2D4B02D8CBCC}" dt="2021-07-25T19:23:48.720" v="172" actId="1076"/>
          <ac:spMkLst>
            <pc:docMk/>
            <pc:sldMk cId="3212288735" sldId="272"/>
            <ac:spMk id="24" creationId="{E678D491-16E3-44C5-A45B-7E6C4171BB56}"/>
          </ac:spMkLst>
        </pc:spChg>
        <pc:spChg chg="mod">
          <ac:chgData name="Zhilin Fang" userId="S::20zf10@queensu.ca::ff93f5d9-d84d-4139-b80c-efbff15678f0" providerId="AD" clId="Web-{86FCD054-E217-E457-7BA9-2D4B02D8CBCC}" dt="2021-07-25T19:23:45.173" v="171" actId="1076"/>
          <ac:spMkLst>
            <pc:docMk/>
            <pc:sldMk cId="3212288735" sldId="272"/>
            <ac:spMk id="26" creationId="{E021DF7A-8C3A-481A-98DE-40AAF7D41C81}"/>
          </ac:spMkLst>
        </pc:spChg>
        <pc:spChg chg="mod">
          <ac:chgData name="Zhilin Fang" userId="S::20zf10@queensu.ca::ff93f5d9-d84d-4139-b80c-efbff15678f0" providerId="AD" clId="Web-{86FCD054-E217-E457-7BA9-2D4B02D8CBCC}" dt="2021-07-25T19:23:42.064" v="170" actId="1076"/>
          <ac:spMkLst>
            <pc:docMk/>
            <pc:sldMk cId="3212288735" sldId="272"/>
            <ac:spMk id="27" creationId="{E1F557C8-2D81-49DB-ADFF-F17730E48F94}"/>
          </ac:spMkLst>
        </pc:spChg>
        <pc:spChg chg="mod">
          <ac:chgData name="Zhilin Fang" userId="S::20zf10@queensu.ca::ff93f5d9-d84d-4139-b80c-efbff15678f0" providerId="AD" clId="Web-{86FCD054-E217-E457-7BA9-2D4B02D8CBCC}" dt="2021-07-25T19:24:07.157" v="175" actId="1076"/>
          <ac:spMkLst>
            <pc:docMk/>
            <pc:sldMk cId="3212288735" sldId="272"/>
            <ac:spMk id="28" creationId="{B9534F8C-E282-47DB-826E-414201B7523C}"/>
          </ac:spMkLst>
        </pc:spChg>
        <pc:spChg chg="mod">
          <ac:chgData name="Zhilin Fang" userId="S::20zf10@queensu.ca::ff93f5d9-d84d-4139-b80c-efbff15678f0" providerId="AD" clId="Web-{86FCD054-E217-E457-7BA9-2D4B02D8CBCC}" dt="2021-07-25T19:24:48.673" v="182" actId="1076"/>
          <ac:spMkLst>
            <pc:docMk/>
            <pc:sldMk cId="3212288735" sldId="272"/>
            <ac:spMk id="29" creationId="{1FAD8920-934A-4090-99E4-86A17AF315F7}"/>
          </ac:spMkLst>
        </pc:spChg>
        <pc:spChg chg="mod">
          <ac:chgData name="Zhilin Fang" userId="S::20zf10@queensu.ca::ff93f5d9-d84d-4139-b80c-efbff15678f0" providerId="AD" clId="Web-{86FCD054-E217-E457-7BA9-2D4B02D8CBCC}" dt="2021-07-25T19:24:40.064" v="181" actId="1076"/>
          <ac:spMkLst>
            <pc:docMk/>
            <pc:sldMk cId="3212288735" sldId="272"/>
            <ac:spMk id="30" creationId="{C9AB8BD6-565A-4BF3-BDE5-8C21B1CDFEED}"/>
          </ac:spMkLst>
        </pc:spChg>
        <pc:picChg chg="add del mod">
          <ac:chgData name="Zhilin Fang" userId="S::20zf10@queensu.ca::ff93f5d9-d84d-4139-b80c-efbff15678f0" providerId="AD" clId="Web-{86FCD054-E217-E457-7BA9-2D4B02D8CBCC}" dt="2021-07-25T19:18:10.688" v="113"/>
          <ac:picMkLst>
            <pc:docMk/>
            <pc:sldMk cId="3212288735" sldId="272"/>
            <ac:picMk id="3" creationId="{97993AB5-1949-4DF7-A67B-4699DE45F3D2}"/>
          </ac:picMkLst>
        </pc:picChg>
      </pc:sldChg>
      <pc:sldChg chg="addSp delSp modSp add del">
        <pc:chgData name="Zhilin Fang" userId="S::20zf10@queensu.ca::ff93f5d9-d84d-4139-b80c-efbff15678f0" providerId="AD" clId="Web-{86FCD054-E217-E457-7BA9-2D4B02D8CBCC}" dt="2021-07-25T19:50:29.150" v="256"/>
        <pc:sldMkLst>
          <pc:docMk/>
          <pc:sldMk cId="3297654295" sldId="274"/>
        </pc:sldMkLst>
        <pc:graphicFrameChg chg="mod modGraphic">
          <ac:chgData name="Zhilin Fang" userId="S::20zf10@queensu.ca::ff93f5d9-d84d-4139-b80c-efbff15678f0" providerId="AD" clId="Web-{86FCD054-E217-E457-7BA9-2D4B02D8CBCC}" dt="2021-07-25T19:50:29.150" v="256"/>
          <ac:graphicFrameMkLst>
            <pc:docMk/>
            <pc:sldMk cId="3297654295" sldId="274"/>
            <ac:graphicFrameMk id="4" creationId="{0D772831-94D6-4AD2-854D-098C8E21FD84}"/>
          </ac:graphicFrameMkLst>
        </pc:graphicFrameChg>
        <pc:graphicFrameChg chg="add del mod modGraphic">
          <ac:chgData name="Zhilin Fang" userId="S::20zf10@queensu.ca::ff93f5d9-d84d-4139-b80c-efbff15678f0" providerId="AD" clId="Web-{86FCD054-E217-E457-7BA9-2D4B02D8CBCC}" dt="2021-07-25T18:55:42.732" v="15"/>
          <ac:graphicFrameMkLst>
            <pc:docMk/>
            <pc:sldMk cId="3297654295" sldId="274"/>
            <ac:graphicFrameMk id="9" creationId="{A883E732-281D-4651-AA1C-08465CAD0120}"/>
          </ac:graphicFrameMkLst>
        </pc:graphicFrameChg>
        <pc:graphicFrameChg chg="add del mod">
          <ac:chgData name="Zhilin Fang" userId="S::20zf10@queensu.ca::ff93f5d9-d84d-4139-b80c-efbff15678f0" providerId="AD" clId="Web-{86FCD054-E217-E457-7BA9-2D4B02D8CBCC}" dt="2021-07-25T19:50:24.119" v="227"/>
          <ac:graphicFrameMkLst>
            <pc:docMk/>
            <pc:sldMk cId="3297654295" sldId="274"/>
            <ac:graphicFrameMk id="16" creationId="{9340B3A9-2A7E-488F-AEE7-5B1E2EB9BAB8}"/>
          </ac:graphicFrameMkLst>
        </pc:graphicFrameChg>
        <pc:picChg chg="add del">
          <ac:chgData name="Zhilin Fang" userId="S::20zf10@queensu.ca::ff93f5d9-d84d-4139-b80c-efbff15678f0" providerId="AD" clId="Web-{86FCD054-E217-E457-7BA9-2D4B02D8CBCC}" dt="2021-07-25T18:55:53.998" v="17"/>
          <ac:picMkLst>
            <pc:docMk/>
            <pc:sldMk cId="3297654295" sldId="274"/>
            <ac:picMk id="3" creationId="{F86B79C6-ED4A-48DB-A0C2-D12CAC4E0B54}"/>
          </ac:picMkLst>
        </pc:picChg>
        <pc:picChg chg="add del mod">
          <ac:chgData name="Zhilin Fang" userId="S::20zf10@queensu.ca::ff93f5d9-d84d-4139-b80c-efbff15678f0" providerId="AD" clId="Web-{86FCD054-E217-E457-7BA9-2D4B02D8CBCC}" dt="2021-07-25T18:56:46.466" v="24"/>
          <ac:picMkLst>
            <pc:docMk/>
            <pc:sldMk cId="3297654295" sldId="274"/>
            <ac:picMk id="10" creationId="{D5A19040-9C19-45A0-B3B7-8D66D98D827C}"/>
          </ac:picMkLst>
        </pc:picChg>
        <pc:picChg chg="add del mod">
          <ac:chgData name="Zhilin Fang" userId="S::20zf10@queensu.ca::ff93f5d9-d84d-4139-b80c-efbff15678f0" providerId="AD" clId="Web-{86FCD054-E217-E457-7BA9-2D4B02D8CBCC}" dt="2021-07-25T18:57:55.560" v="29"/>
          <ac:picMkLst>
            <pc:docMk/>
            <pc:sldMk cId="3297654295" sldId="274"/>
            <ac:picMk id="11" creationId="{83A564B3-7F33-44FA-B0E2-3390A89CB11D}"/>
          </ac:picMkLst>
        </pc:picChg>
        <pc:picChg chg="add del mod">
          <ac:chgData name="Zhilin Fang" userId="S::20zf10@queensu.ca::ff93f5d9-d84d-4139-b80c-efbff15678f0" providerId="AD" clId="Web-{86FCD054-E217-E457-7BA9-2D4B02D8CBCC}" dt="2021-07-25T19:43:08.368" v="183"/>
          <ac:picMkLst>
            <pc:docMk/>
            <pc:sldMk cId="3297654295" sldId="274"/>
            <ac:picMk id="12" creationId="{D102C94C-B65D-4C7B-8650-D63FF37CC1A3}"/>
          </ac:picMkLst>
        </pc:picChg>
        <pc:picChg chg="add del mod">
          <ac:chgData name="Zhilin Fang" userId="S::20zf10@queensu.ca::ff93f5d9-d84d-4139-b80c-efbff15678f0" providerId="AD" clId="Web-{86FCD054-E217-E457-7BA9-2D4B02D8CBCC}" dt="2021-07-25T19:43:22.868" v="189"/>
          <ac:picMkLst>
            <pc:docMk/>
            <pc:sldMk cId="3297654295" sldId="274"/>
            <ac:picMk id="13" creationId="{FA756601-B5E5-4828-BB09-907F6B61E7D6}"/>
          </ac:picMkLst>
        </pc:picChg>
        <pc:picChg chg="add mod">
          <ac:chgData name="Zhilin Fang" userId="S::20zf10@queensu.ca::ff93f5d9-d84d-4139-b80c-efbff15678f0" providerId="AD" clId="Web-{86FCD054-E217-E457-7BA9-2D4B02D8CBCC}" dt="2021-07-25T19:44:24.259" v="193" actId="14100"/>
          <ac:picMkLst>
            <pc:docMk/>
            <pc:sldMk cId="3297654295" sldId="274"/>
            <ac:picMk id="14" creationId="{3EB659C3-BAFA-4EC4-ADCE-4D9A59EC931F}"/>
          </ac:picMkLst>
        </pc:picChg>
      </pc:sldChg>
      <pc:sldChg chg="addSp delSp modSp">
        <pc:chgData name="Zhilin Fang" userId="S::20zf10@queensu.ca::ff93f5d9-d84d-4139-b80c-efbff15678f0" providerId="AD" clId="Web-{86FCD054-E217-E457-7BA9-2D4B02D8CBCC}" dt="2021-07-25T18:55:21.544" v="9"/>
        <pc:sldMkLst>
          <pc:docMk/>
          <pc:sldMk cId="2251132479" sldId="275"/>
        </pc:sldMkLst>
        <pc:graphicFrameChg chg="add del mod">
          <ac:chgData name="Zhilin Fang" userId="S::20zf10@queensu.ca::ff93f5d9-d84d-4139-b80c-efbff15678f0" providerId="AD" clId="Web-{86FCD054-E217-E457-7BA9-2D4B02D8CBCC}" dt="2021-07-25T18:55:21.544" v="9"/>
          <ac:graphicFrameMkLst>
            <pc:docMk/>
            <pc:sldMk cId="2251132479" sldId="275"/>
            <ac:graphicFrameMk id="8" creationId="{BE2DEE01-CB6D-4513-86DF-24F6D0E21BEF}"/>
          </ac:graphicFrameMkLst>
        </pc:graphicFrameChg>
      </pc:sldChg>
      <pc:sldChg chg="new del">
        <pc:chgData name="Zhilin Fang" userId="S::20zf10@queensu.ca::ff93f5d9-d84d-4139-b80c-efbff15678f0" providerId="AD" clId="Web-{86FCD054-E217-E457-7BA9-2D4B02D8CBCC}" dt="2021-07-25T19:50:40.853" v="258"/>
        <pc:sldMkLst>
          <pc:docMk/>
          <pc:sldMk cId="2945932302" sldId="278"/>
        </pc:sldMkLst>
      </pc:sldChg>
      <pc:sldChg chg="addSp modSp add replId">
        <pc:chgData name="Zhilin Fang" userId="S::20zf10@queensu.ca::ff93f5d9-d84d-4139-b80c-efbff15678f0" providerId="AD" clId="Web-{86FCD054-E217-E457-7BA9-2D4B02D8CBCC}" dt="2021-07-25T19:51:32.712" v="262" actId="1076"/>
        <pc:sldMkLst>
          <pc:docMk/>
          <pc:sldMk cId="3399673558" sldId="279"/>
        </pc:sldMkLst>
        <pc:graphicFrameChg chg="mod modGraphic">
          <ac:chgData name="Zhilin Fang" userId="S::20zf10@queensu.ca::ff93f5d9-d84d-4139-b80c-efbff15678f0" providerId="AD" clId="Web-{86FCD054-E217-E457-7BA9-2D4B02D8CBCC}" dt="2021-07-25T19:51:13.994" v="261"/>
          <ac:graphicFrameMkLst>
            <pc:docMk/>
            <pc:sldMk cId="3399673558" sldId="279"/>
            <ac:graphicFrameMk id="4" creationId="{0D772831-94D6-4AD2-854D-098C8E21FD84}"/>
          </ac:graphicFrameMkLst>
        </pc:graphicFrameChg>
        <pc:graphicFrameChg chg="add mod">
          <ac:chgData name="Zhilin Fang" userId="S::20zf10@queensu.ca::ff93f5d9-d84d-4139-b80c-efbff15678f0" providerId="AD" clId="Web-{86FCD054-E217-E457-7BA9-2D4B02D8CBCC}" dt="2021-07-25T19:51:32.712" v="262" actId="1076"/>
          <ac:graphicFrameMkLst>
            <pc:docMk/>
            <pc:sldMk cId="3399673558" sldId="279"/>
            <ac:graphicFrameMk id="8" creationId="{0734696D-36F7-4570-9490-AA529D38E347}"/>
          </ac:graphicFrameMkLst>
        </pc:graphicFrameChg>
      </pc:sldChg>
    </pc:docChg>
  </pc:docChgLst>
  <pc:docChgLst>
    <pc:chgData name="Faiza Shallwani" userId="S::21fs20@queensu.ca::31de7e11-baf0-46c5-99b8-eac5c5cfad97" providerId="AD" clId="Web-{B44BEAB7-0065-209A-5A7E-C4A18E78D660}"/>
    <pc:docChg chg="modSld">
      <pc:chgData name="Faiza Shallwani" userId="S::21fs20@queensu.ca::31de7e11-baf0-46c5-99b8-eac5c5cfad97" providerId="AD" clId="Web-{B44BEAB7-0065-209A-5A7E-C4A18E78D660}" dt="2021-07-25T03:43:22.141" v="68" actId="1076"/>
      <pc:docMkLst>
        <pc:docMk/>
      </pc:docMkLst>
      <pc:sldChg chg="modSp">
        <pc:chgData name="Faiza Shallwani" userId="S::21fs20@queensu.ca::31de7e11-baf0-46c5-99b8-eac5c5cfad97" providerId="AD" clId="Web-{B44BEAB7-0065-209A-5A7E-C4A18E78D660}" dt="2021-07-25T02:26:30.442" v="12" actId="20577"/>
        <pc:sldMkLst>
          <pc:docMk/>
          <pc:sldMk cId="3065873243" sldId="257"/>
        </pc:sldMkLst>
        <pc:spChg chg="mod">
          <ac:chgData name="Faiza Shallwani" userId="S::21fs20@queensu.ca::31de7e11-baf0-46c5-99b8-eac5c5cfad97" providerId="AD" clId="Web-{B44BEAB7-0065-209A-5A7E-C4A18E78D660}" dt="2021-07-25T02:26:30.442" v="12" actId="20577"/>
          <ac:spMkLst>
            <pc:docMk/>
            <pc:sldMk cId="3065873243" sldId="257"/>
            <ac:spMk id="19" creationId="{30565F38-E337-1A48-A044-6EF1E440D409}"/>
          </ac:spMkLst>
        </pc:spChg>
      </pc:sldChg>
      <pc:sldChg chg="modSp">
        <pc:chgData name="Faiza Shallwani" userId="S::21fs20@queensu.ca::31de7e11-baf0-46c5-99b8-eac5c5cfad97" providerId="AD" clId="Web-{B44BEAB7-0065-209A-5A7E-C4A18E78D660}" dt="2021-07-25T03:38:07.528" v="59" actId="20577"/>
        <pc:sldMkLst>
          <pc:docMk/>
          <pc:sldMk cId="513114675" sldId="269"/>
        </pc:sldMkLst>
        <pc:spChg chg="mod">
          <ac:chgData name="Faiza Shallwani" userId="S::21fs20@queensu.ca::31de7e11-baf0-46c5-99b8-eac5c5cfad97" providerId="AD" clId="Web-{B44BEAB7-0065-209A-5A7E-C4A18E78D660}" dt="2021-07-25T03:38:02.763" v="58"/>
          <ac:spMkLst>
            <pc:docMk/>
            <pc:sldMk cId="513114675" sldId="269"/>
            <ac:spMk id="4" creationId="{12042BF5-FDEF-481C-BA5D-0DFB9FC942F1}"/>
          </ac:spMkLst>
        </pc:spChg>
        <pc:spChg chg="mod">
          <ac:chgData name="Faiza Shallwani" userId="S::21fs20@queensu.ca::31de7e11-baf0-46c5-99b8-eac5c5cfad97" providerId="AD" clId="Web-{B44BEAB7-0065-209A-5A7E-C4A18E78D660}" dt="2021-07-25T03:37:58.966" v="56"/>
          <ac:spMkLst>
            <pc:docMk/>
            <pc:sldMk cId="513114675" sldId="269"/>
            <ac:spMk id="5" creationId="{AE19E415-0829-45BB-93F7-E33E26FD79C3}"/>
          </ac:spMkLst>
        </pc:spChg>
        <pc:spChg chg="mod">
          <ac:chgData name="Faiza Shallwani" userId="S::21fs20@queensu.ca::31de7e11-baf0-46c5-99b8-eac5c5cfad97" providerId="AD" clId="Web-{B44BEAB7-0065-209A-5A7E-C4A18E78D660}" dt="2021-07-25T03:38:07.528" v="59" actId="20577"/>
          <ac:spMkLst>
            <pc:docMk/>
            <pc:sldMk cId="513114675" sldId="269"/>
            <ac:spMk id="6" creationId="{B2927777-A27E-42AB-92E2-FFF44418EC94}"/>
          </ac:spMkLst>
        </pc:spChg>
        <pc:spChg chg="mod">
          <ac:chgData name="Faiza Shallwani" userId="S::21fs20@queensu.ca::31de7e11-baf0-46c5-99b8-eac5c5cfad97" providerId="AD" clId="Web-{B44BEAB7-0065-209A-5A7E-C4A18E78D660}" dt="2021-07-25T02:18:17.975" v="1"/>
          <ac:spMkLst>
            <pc:docMk/>
            <pc:sldMk cId="513114675" sldId="269"/>
            <ac:spMk id="7" creationId="{6958FA60-FAAD-43B3-AC7D-BE711C734D6A}"/>
          </ac:spMkLst>
        </pc:spChg>
        <pc:spChg chg="mod">
          <ac:chgData name="Faiza Shallwani" userId="S::21fs20@queensu.ca::31de7e11-baf0-46c5-99b8-eac5c5cfad97" providerId="AD" clId="Web-{B44BEAB7-0065-209A-5A7E-C4A18E78D660}" dt="2021-07-25T03:05:59.621" v="27" actId="20577"/>
          <ac:spMkLst>
            <pc:docMk/>
            <pc:sldMk cId="513114675" sldId="269"/>
            <ac:spMk id="9" creationId="{DB33A030-F9C9-44E9-A04B-6CC4C36F4EE5}"/>
          </ac:spMkLst>
        </pc:spChg>
        <pc:spChg chg="mod">
          <ac:chgData name="Faiza Shallwani" userId="S::21fs20@queensu.ca::31de7e11-baf0-46c5-99b8-eac5c5cfad97" providerId="AD" clId="Web-{B44BEAB7-0065-209A-5A7E-C4A18E78D660}" dt="2021-07-25T02:18:24.069" v="2"/>
          <ac:spMkLst>
            <pc:docMk/>
            <pc:sldMk cId="513114675" sldId="269"/>
            <ac:spMk id="11" creationId="{E54A79D0-D47D-4CBC-842E-C1B2C24C7BB6}"/>
          </ac:spMkLst>
        </pc:spChg>
        <pc:spChg chg="mod">
          <ac:chgData name="Faiza Shallwani" userId="S::21fs20@queensu.ca::31de7e11-baf0-46c5-99b8-eac5c5cfad97" providerId="AD" clId="Web-{B44BEAB7-0065-209A-5A7E-C4A18E78D660}" dt="2021-07-25T02:18:33.600" v="5"/>
          <ac:spMkLst>
            <pc:docMk/>
            <pc:sldMk cId="513114675" sldId="269"/>
            <ac:spMk id="12" creationId="{01F207E4-84A8-4D23-B813-677EC27D6BD5}"/>
          </ac:spMkLst>
        </pc:spChg>
      </pc:sldChg>
      <pc:sldChg chg="modSp">
        <pc:chgData name="Faiza Shallwani" userId="S::21fs20@queensu.ca::31de7e11-baf0-46c5-99b8-eac5c5cfad97" providerId="AD" clId="Web-{B44BEAB7-0065-209A-5A7E-C4A18E78D660}" dt="2021-07-25T03:36:32.590" v="48" actId="20577"/>
        <pc:sldMkLst>
          <pc:docMk/>
          <pc:sldMk cId="530549270" sldId="270"/>
        </pc:sldMkLst>
        <pc:spChg chg="mod">
          <ac:chgData name="Faiza Shallwani" userId="S::21fs20@queensu.ca::31de7e11-baf0-46c5-99b8-eac5c5cfad97" providerId="AD" clId="Web-{B44BEAB7-0065-209A-5A7E-C4A18E78D660}" dt="2021-07-25T03:36:32.590" v="48" actId="20577"/>
          <ac:spMkLst>
            <pc:docMk/>
            <pc:sldMk cId="530549270" sldId="270"/>
            <ac:spMk id="4" creationId="{0BEE5E8D-FA46-4EF8-9D41-1BB925DA5635}"/>
          </ac:spMkLst>
        </pc:spChg>
      </pc:sldChg>
      <pc:sldChg chg="modSp">
        <pc:chgData name="Faiza Shallwani" userId="S::21fs20@queensu.ca::31de7e11-baf0-46c5-99b8-eac5c5cfad97" providerId="AD" clId="Web-{B44BEAB7-0065-209A-5A7E-C4A18E78D660}" dt="2021-07-25T03:23:41.191" v="38"/>
        <pc:sldMkLst>
          <pc:docMk/>
          <pc:sldMk cId="3297654295" sldId="274"/>
        </pc:sldMkLst>
        <pc:graphicFrameChg chg="modGraphic">
          <ac:chgData name="Faiza Shallwani" userId="S::21fs20@queensu.ca::31de7e11-baf0-46c5-99b8-eac5c5cfad97" providerId="AD" clId="Web-{B44BEAB7-0065-209A-5A7E-C4A18E78D660}" dt="2021-07-25T03:23:41.191" v="38"/>
          <ac:graphicFrameMkLst>
            <pc:docMk/>
            <pc:sldMk cId="3297654295" sldId="274"/>
            <ac:graphicFrameMk id="4" creationId="{0D772831-94D6-4AD2-854D-098C8E21FD84}"/>
          </ac:graphicFrameMkLst>
        </pc:graphicFrameChg>
      </pc:sldChg>
      <pc:sldChg chg="modSp">
        <pc:chgData name="Faiza Shallwani" userId="S::21fs20@queensu.ca::31de7e11-baf0-46c5-99b8-eac5c5cfad97" providerId="AD" clId="Web-{B44BEAB7-0065-209A-5A7E-C4A18E78D660}" dt="2021-07-25T03:34:06.355" v="47" actId="20577"/>
        <pc:sldMkLst>
          <pc:docMk/>
          <pc:sldMk cId="2251132479" sldId="275"/>
        </pc:sldMkLst>
        <pc:spChg chg="mod">
          <ac:chgData name="Faiza Shallwani" userId="S::21fs20@queensu.ca::31de7e11-baf0-46c5-99b8-eac5c5cfad97" providerId="AD" clId="Web-{B44BEAB7-0065-209A-5A7E-C4A18E78D660}" dt="2021-07-25T03:34:06.355" v="47" actId="20577"/>
          <ac:spMkLst>
            <pc:docMk/>
            <pc:sldMk cId="2251132479" sldId="275"/>
            <ac:spMk id="24" creationId="{65ECED02-1929-4E21-8D17-94EBAE342E5C}"/>
          </ac:spMkLst>
        </pc:spChg>
        <pc:spChg chg="mod">
          <ac:chgData name="Faiza Shallwani" userId="S::21fs20@queensu.ca::31de7e11-baf0-46c5-99b8-eac5c5cfad97" providerId="AD" clId="Web-{B44BEAB7-0065-209A-5A7E-C4A18E78D660}" dt="2021-07-25T03:03:41.636" v="22"/>
          <ac:spMkLst>
            <pc:docMk/>
            <pc:sldMk cId="2251132479" sldId="275"/>
            <ac:spMk id="29" creationId="{EBFD7636-C2C0-4EB6-87AA-E118319528CB}"/>
          </ac:spMkLst>
        </pc:spChg>
        <pc:spChg chg="mod">
          <ac:chgData name="Faiza Shallwani" userId="S::21fs20@queensu.ca::31de7e11-baf0-46c5-99b8-eac5c5cfad97" providerId="AD" clId="Web-{B44BEAB7-0065-209A-5A7E-C4A18E78D660}" dt="2021-07-25T03:03:14.479" v="19"/>
          <ac:spMkLst>
            <pc:docMk/>
            <pc:sldMk cId="2251132479" sldId="275"/>
            <ac:spMk id="30" creationId="{B1B295F5-A547-49AE-834D-00FE967C5D33}"/>
          </ac:spMkLst>
        </pc:spChg>
        <pc:spChg chg="mod">
          <ac:chgData name="Faiza Shallwani" userId="S::21fs20@queensu.ca::31de7e11-baf0-46c5-99b8-eac5c5cfad97" providerId="AD" clId="Web-{B44BEAB7-0065-209A-5A7E-C4A18E78D660}" dt="2021-07-25T03:02:54.776" v="16"/>
          <ac:spMkLst>
            <pc:docMk/>
            <pc:sldMk cId="2251132479" sldId="275"/>
            <ac:spMk id="37" creationId="{35EEC8C5-522A-40F3-AEC4-5A6E26692B21}"/>
          </ac:spMkLst>
        </pc:spChg>
        <pc:spChg chg="mod">
          <ac:chgData name="Faiza Shallwani" userId="S::21fs20@queensu.ca::31de7e11-baf0-46c5-99b8-eac5c5cfad97" providerId="AD" clId="Web-{B44BEAB7-0065-209A-5A7E-C4A18E78D660}" dt="2021-07-25T03:03:51.433" v="24"/>
          <ac:spMkLst>
            <pc:docMk/>
            <pc:sldMk cId="2251132479" sldId="275"/>
            <ac:spMk id="39" creationId="{D35A2584-2D6A-48B0-B019-B04403052E99}"/>
          </ac:spMkLst>
        </pc:spChg>
        <pc:spChg chg="mod">
          <ac:chgData name="Faiza Shallwani" userId="S::21fs20@queensu.ca::31de7e11-baf0-46c5-99b8-eac5c5cfad97" providerId="AD" clId="Web-{B44BEAB7-0065-209A-5A7E-C4A18E78D660}" dt="2021-07-25T03:03:54.527" v="25"/>
          <ac:spMkLst>
            <pc:docMk/>
            <pc:sldMk cId="2251132479" sldId="275"/>
            <ac:spMk id="40" creationId="{7A5A94AB-D102-4A9B-A39E-BA482A8B69CD}"/>
          </ac:spMkLst>
        </pc:spChg>
      </pc:sldChg>
      <pc:sldChg chg="modSp">
        <pc:chgData name="Faiza Shallwani" userId="S::21fs20@queensu.ca::31de7e11-baf0-46c5-99b8-eac5c5cfad97" providerId="AD" clId="Web-{B44BEAB7-0065-209A-5A7E-C4A18E78D660}" dt="2021-07-25T03:30:31.103" v="44" actId="20577"/>
        <pc:sldMkLst>
          <pc:docMk/>
          <pc:sldMk cId="2667699651" sldId="276"/>
        </pc:sldMkLst>
        <pc:spChg chg="mod">
          <ac:chgData name="Faiza Shallwani" userId="S::21fs20@queensu.ca::31de7e11-baf0-46c5-99b8-eac5c5cfad97" providerId="AD" clId="Web-{B44BEAB7-0065-209A-5A7E-C4A18E78D660}" dt="2021-07-25T03:30:31.103" v="44" actId="20577"/>
          <ac:spMkLst>
            <pc:docMk/>
            <pc:sldMk cId="2667699651" sldId="276"/>
            <ac:spMk id="22" creationId="{D8A85EE4-DBB7-490F-8E8C-A956F71B8E80}"/>
          </ac:spMkLst>
        </pc:spChg>
        <pc:spChg chg="mod">
          <ac:chgData name="Faiza Shallwani" userId="S::21fs20@queensu.ca::31de7e11-baf0-46c5-99b8-eac5c5cfad97" providerId="AD" clId="Web-{B44BEAB7-0065-209A-5A7E-C4A18E78D660}" dt="2021-07-25T03:26:00.601" v="42" actId="1076"/>
          <ac:spMkLst>
            <pc:docMk/>
            <pc:sldMk cId="2667699651" sldId="276"/>
            <ac:spMk id="25" creationId="{88B35585-1D48-4213-B53A-C72176F457F2}"/>
          </ac:spMkLst>
        </pc:spChg>
        <pc:spChg chg="mod">
          <ac:chgData name="Faiza Shallwani" userId="S::21fs20@queensu.ca::31de7e11-baf0-46c5-99b8-eac5c5cfad97" providerId="AD" clId="Web-{B44BEAB7-0065-209A-5A7E-C4A18E78D660}" dt="2021-07-25T03:25:31.333" v="40" actId="1076"/>
          <ac:spMkLst>
            <pc:docMk/>
            <pc:sldMk cId="2667699651" sldId="276"/>
            <ac:spMk id="27" creationId="{255385AF-681D-4EFC-BC30-24E994C7CB5F}"/>
          </ac:spMkLst>
        </pc:spChg>
      </pc:sldChg>
      <pc:sldChg chg="modSp">
        <pc:chgData name="Faiza Shallwani" userId="S::21fs20@queensu.ca::31de7e11-baf0-46c5-99b8-eac5c5cfad97" providerId="AD" clId="Web-{B44BEAB7-0065-209A-5A7E-C4A18E78D660}" dt="2021-07-25T03:43:22.141" v="68" actId="1076"/>
        <pc:sldMkLst>
          <pc:docMk/>
          <pc:sldMk cId="1364762496" sldId="277"/>
        </pc:sldMkLst>
        <pc:spChg chg="mod">
          <ac:chgData name="Faiza Shallwani" userId="S::21fs20@queensu.ca::31de7e11-baf0-46c5-99b8-eac5c5cfad97" providerId="AD" clId="Web-{B44BEAB7-0065-209A-5A7E-C4A18E78D660}" dt="2021-07-25T03:40:50.014" v="63"/>
          <ac:spMkLst>
            <pc:docMk/>
            <pc:sldMk cId="1364762496" sldId="277"/>
            <ac:spMk id="15" creationId="{C6DB10CB-BC3E-482E-AC44-F9DAB9F5A25F}"/>
          </ac:spMkLst>
        </pc:spChg>
        <pc:spChg chg="mod">
          <ac:chgData name="Faiza Shallwani" userId="S::21fs20@queensu.ca::31de7e11-baf0-46c5-99b8-eac5c5cfad97" providerId="AD" clId="Web-{B44BEAB7-0065-209A-5A7E-C4A18E78D660}" dt="2021-07-25T03:40:15.873" v="60"/>
          <ac:spMkLst>
            <pc:docMk/>
            <pc:sldMk cId="1364762496" sldId="277"/>
            <ac:spMk id="17" creationId="{86FAC06E-87A7-4CF4-B415-CEEA5A6146E4}"/>
          </ac:spMkLst>
        </pc:spChg>
        <pc:spChg chg="mod">
          <ac:chgData name="Faiza Shallwani" userId="S::21fs20@queensu.ca::31de7e11-baf0-46c5-99b8-eac5c5cfad97" providerId="AD" clId="Web-{B44BEAB7-0065-209A-5A7E-C4A18E78D660}" dt="2021-07-25T03:41:15.312" v="66"/>
          <ac:spMkLst>
            <pc:docMk/>
            <pc:sldMk cId="1364762496" sldId="277"/>
            <ac:spMk id="19" creationId="{655D345C-CE67-42DE-BF33-9FFBE97B1395}"/>
          </ac:spMkLst>
        </pc:spChg>
        <pc:spChg chg="mod">
          <ac:chgData name="Faiza Shallwani" userId="S::21fs20@queensu.ca::31de7e11-baf0-46c5-99b8-eac5c5cfad97" providerId="AD" clId="Web-{B44BEAB7-0065-209A-5A7E-C4A18E78D660}" dt="2021-07-25T03:41:00.202" v="64" actId="20577"/>
          <ac:spMkLst>
            <pc:docMk/>
            <pc:sldMk cId="1364762496" sldId="277"/>
            <ac:spMk id="20" creationId="{E4EEC99E-673F-4304-9AE1-DD4EE8CC04AE}"/>
          </ac:spMkLst>
        </pc:spChg>
        <pc:spChg chg="mod">
          <ac:chgData name="Faiza Shallwani" userId="S::21fs20@queensu.ca::31de7e11-baf0-46c5-99b8-eac5c5cfad97" providerId="AD" clId="Web-{B44BEAB7-0065-209A-5A7E-C4A18E78D660}" dt="2021-07-25T03:40:34.920" v="62"/>
          <ac:spMkLst>
            <pc:docMk/>
            <pc:sldMk cId="1364762496" sldId="277"/>
            <ac:spMk id="24" creationId="{ECE105BE-4FC9-48DC-8041-1E9ECF24AEF9}"/>
          </ac:spMkLst>
        </pc:spChg>
        <pc:spChg chg="mod">
          <ac:chgData name="Faiza Shallwani" userId="S::21fs20@queensu.ca::31de7e11-baf0-46c5-99b8-eac5c5cfad97" providerId="AD" clId="Web-{B44BEAB7-0065-209A-5A7E-C4A18E78D660}" dt="2021-07-25T03:40:26.076" v="61" actId="20577"/>
          <ac:spMkLst>
            <pc:docMk/>
            <pc:sldMk cId="1364762496" sldId="277"/>
            <ac:spMk id="28" creationId="{2D804EDC-D617-410E-AE23-244EE62554AF}"/>
          </ac:spMkLst>
        </pc:spChg>
        <pc:spChg chg="mod">
          <ac:chgData name="Faiza Shallwani" userId="S::21fs20@queensu.ca::31de7e11-baf0-46c5-99b8-eac5c5cfad97" providerId="AD" clId="Web-{B44BEAB7-0065-209A-5A7E-C4A18E78D660}" dt="2021-07-25T03:43:22.141" v="68" actId="1076"/>
          <ac:spMkLst>
            <pc:docMk/>
            <pc:sldMk cId="1364762496" sldId="277"/>
            <ac:spMk id="49" creationId="{1D19DAD4-9F57-49C4-8ABD-B21189B4EAC3}"/>
          </ac:spMkLst>
        </pc:spChg>
      </pc:sldChg>
    </pc:docChg>
  </pc:docChgLst>
  <pc:docChgLst>
    <pc:chgData name="Gopala Goyal" userId="S::20gg12@queensu.ca::a4c6041a-9148-4312-a7d5-63483cb1f2ab" providerId="AD" clId="Web-{159602EA-4E08-1312-4CA7-8FABE76C5940}"/>
    <pc:docChg chg="modSld">
      <pc:chgData name="Gopala Goyal" userId="S::20gg12@queensu.ca::a4c6041a-9148-4312-a7d5-63483cb1f2ab" providerId="AD" clId="Web-{159602EA-4E08-1312-4CA7-8FABE76C5940}" dt="2021-08-02T02:18:56.718" v="3" actId="1076"/>
      <pc:docMkLst>
        <pc:docMk/>
      </pc:docMkLst>
      <pc:sldChg chg="modSp">
        <pc:chgData name="Gopala Goyal" userId="S::20gg12@queensu.ca::a4c6041a-9148-4312-a7d5-63483cb1f2ab" providerId="AD" clId="Web-{159602EA-4E08-1312-4CA7-8FABE76C5940}" dt="2021-08-02T02:18:56.718" v="3" actId="1076"/>
        <pc:sldMkLst>
          <pc:docMk/>
          <pc:sldMk cId="2990059952" sldId="271"/>
        </pc:sldMkLst>
        <pc:spChg chg="mod">
          <ac:chgData name="Gopala Goyal" userId="S::20gg12@queensu.ca::a4c6041a-9148-4312-a7d5-63483cb1f2ab" providerId="AD" clId="Web-{159602EA-4E08-1312-4CA7-8FABE76C5940}" dt="2021-08-02T02:18:56.718" v="2" actId="1076"/>
          <ac:spMkLst>
            <pc:docMk/>
            <pc:sldMk cId="2990059952" sldId="271"/>
            <ac:spMk id="36" creationId="{718D1454-A222-47E7-8CA5-80CCF9BAF387}"/>
          </ac:spMkLst>
        </pc:spChg>
        <pc:grpChg chg="mod">
          <ac:chgData name="Gopala Goyal" userId="S::20gg12@queensu.ca::a4c6041a-9148-4312-a7d5-63483cb1f2ab" providerId="AD" clId="Web-{159602EA-4E08-1312-4CA7-8FABE76C5940}" dt="2021-08-02T02:18:56.718" v="3" actId="1076"/>
          <ac:grpSpMkLst>
            <pc:docMk/>
            <pc:sldMk cId="2990059952" sldId="271"/>
            <ac:grpSpMk id="3" creationId="{C10BB6A3-88F2-4826-914A-D590A1E29966}"/>
          </ac:grpSpMkLst>
        </pc:grpChg>
      </pc:sldChg>
    </pc:docChg>
  </pc:docChgLst>
  <pc:docChgLst>
    <pc:chgData name="Faiza Shallwani" userId="31de7e11-baf0-46c5-99b8-eac5c5cfad97" providerId="ADAL" clId="{D488E830-D5B1-4218-B025-9A2F2AAE74AC}"/>
    <pc:docChg chg="custSel modSld">
      <pc:chgData name="Faiza Shallwani" userId="31de7e11-baf0-46c5-99b8-eac5c5cfad97" providerId="ADAL" clId="{D488E830-D5B1-4218-B025-9A2F2AAE74AC}" dt="2021-07-25T19:47:32.159" v="54" actId="20577"/>
      <pc:docMkLst>
        <pc:docMk/>
      </pc:docMkLst>
      <pc:sldChg chg="modNotesTx">
        <pc:chgData name="Faiza Shallwani" userId="31de7e11-baf0-46c5-99b8-eac5c5cfad97" providerId="ADAL" clId="{D488E830-D5B1-4218-B025-9A2F2AAE74AC}" dt="2021-07-25T19:28:11.113" v="0" actId="33524"/>
        <pc:sldMkLst>
          <pc:docMk/>
          <pc:sldMk cId="3065873243" sldId="257"/>
        </pc:sldMkLst>
      </pc:sldChg>
      <pc:sldChg chg="modSp mod">
        <pc:chgData name="Faiza Shallwani" userId="31de7e11-baf0-46c5-99b8-eac5c5cfad97" providerId="ADAL" clId="{D488E830-D5B1-4218-B025-9A2F2AAE74AC}" dt="2021-07-25T19:47:32.159" v="54" actId="20577"/>
        <pc:sldMkLst>
          <pc:docMk/>
          <pc:sldMk cId="530549270" sldId="270"/>
        </pc:sldMkLst>
        <pc:spChg chg="mod">
          <ac:chgData name="Faiza Shallwani" userId="31de7e11-baf0-46c5-99b8-eac5c5cfad97" providerId="ADAL" clId="{D488E830-D5B1-4218-B025-9A2F2AAE74AC}" dt="2021-07-25T19:47:32.159" v="54" actId="20577"/>
          <ac:spMkLst>
            <pc:docMk/>
            <pc:sldMk cId="530549270" sldId="270"/>
            <ac:spMk id="53" creationId="{E16D4776-7060-45CC-ADC1-83B5A26FB4BE}"/>
          </ac:spMkLst>
        </pc:spChg>
        <pc:spChg chg="mod">
          <ac:chgData name="Faiza Shallwani" userId="31de7e11-baf0-46c5-99b8-eac5c5cfad97" providerId="ADAL" clId="{D488E830-D5B1-4218-B025-9A2F2AAE74AC}" dt="2021-07-25T19:33:42.133" v="10" actId="20577"/>
          <ac:spMkLst>
            <pc:docMk/>
            <pc:sldMk cId="530549270" sldId="270"/>
            <ac:spMk id="61" creationId="{8DBCE434-AB13-41F6-A866-C63EA3F655E5}"/>
          </ac:spMkLst>
        </pc:spChg>
        <pc:spChg chg="mod">
          <ac:chgData name="Faiza Shallwani" userId="31de7e11-baf0-46c5-99b8-eac5c5cfad97" providerId="ADAL" clId="{D488E830-D5B1-4218-B025-9A2F2AAE74AC}" dt="2021-07-25T19:39:39.542" v="47" actId="20577"/>
          <ac:spMkLst>
            <pc:docMk/>
            <pc:sldMk cId="530549270" sldId="270"/>
            <ac:spMk id="64" creationId="{30D5BCFA-82B9-4F06-933B-523F8BF94CCE}"/>
          </ac:spMkLst>
        </pc:spChg>
      </pc:sldChg>
    </pc:docChg>
  </pc:docChgLst>
  <pc:docChgLst>
    <pc:chgData name="Gopala Goyal" userId="S::20gg12@queensu.ca::a4c6041a-9148-4312-a7d5-63483cb1f2ab" providerId="AD" clId="Web-{490A41D7-160A-338A-AB24-5120EFEADDC5}"/>
    <pc:docChg chg="modSld">
      <pc:chgData name="Gopala Goyal" userId="S::20gg12@queensu.ca::a4c6041a-9148-4312-a7d5-63483cb1f2ab" providerId="AD" clId="Web-{490A41D7-160A-338A-AB24-5120EFEADDC5}" dt="2021-07-25T18:26:58.259" v="958" actId="20577"/>
      <pc:docMkLst>
        <pc:docMk/>
      </pc:docMkLst>
      <pc:sldChg chg="modNotes">
        <pc:chgData name="Gopala Goyal" userId="S::20gg12@queensu.ca::a4c6041a-9148-4312-a7d5-63483cb1f2ab" providerId="AD" clId="Web-{490A41D7-160A-338A-AB24-5120EFEADDC5}" dt="2021-07-25T18:05:55.593" v="210"/>
        <pc:sldMkLst>
          <pc:docMk/>
          <pc:sldMk cId="3065873243" sldId="257"/>
        </pc:sldMkLst>
      </pc:sldChg>
      <pc:sldChg chg="modSp modNotes">
        <pc:chgData name="Gopala Goyal" userId="S::20gg12@queensu.ca::a4c6041a-9148-4312-a7d5-63483cb1f2ab" providerId="AD" clId="Web-{490A41D7-160A-338A-AB24-5120EFEADDC5}" dt="2021-07-25T18:11:50.458" v="537"/>
        <pc:sldMkLst>
          <pc:docMk/>
          <pc:sldMk cId="513114675" sldId="269"/>
        </pc:sldMkLst>
        <pc:spChg chg="mod">
          <ac:chgData name="Gopala Goyal" userId="S::20gg12@queensu.ca::a4c6041a-9148-4312-a7d5-63483cb1f2ab" providerId="AD" clId="Web-{490A41D7-160A-338A-AB24-5120EFEADDC5}" dt="2021-07-25T18:10:54.770" v="530"/>
          <ac:spMkLst>
            <pc:docMk/>
            <pc:sldMk cId="513114675" sldId="269"/>
            <ac:spMk id="7" creationId="{6958FA60-FAAD-43B3-AC7D-BE711C734D6A}"/>
          </ac:spMkLst>
        </pc:spChg>
        <pc:spChg chg="mod">
          <ac:chgData name="Gopala Goyal" userId="S::20gg12@queensu.ca::a4c6041a-9148-4312-a7d5-63483cb1f2ab" providerId="AD" clId="Web-{490A41D7-160A-338A-AB24-5120EFEADDC5}" dt="2021-07-25T18:10:54.801" v="531"/>
          <ac:spMkLst>
            <pc:docMk/>
            <pc:sldMk cId="513114675" sldId="269"/>
            <ac:spMk id="9" creationId="{DB33A030-F9C9-44E9-A04B-6CC4C36F4EE5}"/>
          </ac:spMkLst>
        </pc:spChg>
        <pc:spChg chg="mod">
          <ac:chgData name="Gopala Goyal" userId="S::20gg12@queensu.ca::a4c6041a-9148-4312-a7d5-63483cb1f2ab" providerId="AD" clId="Web-{490A41D7-160A-338A-AB24-5120EFEADDC5}" dt="2021-07-25T18:10:54.817" v="532"/>
          <ac:spMkLst>
            <pc:docMk/>
            <pc:sldMk cId="513114675" sldId="269"/>
            <ac:spMk id="11" creationId="{E54A79D0-D47D-4CBC-842E-C1B2C24C7BB6}"/>
          </ac:spMkLst>
        </pc:spChg>
        <pc:spChg chg="mod">
          <ac:chgData name="Gopala Goyal" userId="S::20gg12@queensu.ca::a4c6041a-9148-4312-a7d5-63483cb1f2ab" providerId="AD" clId="Web-{490A41D7-160A-338A-AB24-5120EFEADDC5}" dt="2021-07-25T18:10:54.848" v="533"/>
          <ac:spMkLst>
            <pc:docMk/>
            <pc:sldMk cId="513114675" sldId="269"/>
            <ac:spMk id="12" creationId="{01F207E4-84A8-4D23-B813-677EC27D6BD5}"/>
          </ac:spMkLst>
        </pc:spChg>
      </pc:sldChg>
      <pc:sldChg chg="modSp">
        <pc:chgData name="Gopala Goyal" userId="S::20gg12@queensu.ca::a4c6041a-9148-4312-a7d5-63483cb1f2ab" providerId="AD" clId="Web-{490A41D7-160A-338A-AB24-5120EFEADDC5}" dt="2021-07-25T18:17:49.412" v="697" actId="20577"/>
        <pc:sldMkLst>
          <pc:docMk/>
          <pc:sldMk cId="530549270" sldId="270"/>
        </pc:sldMkLst>
        <pc:spChg chg="mod">
          <ac:chgData name="Gopala Goyal" userId="S::20gg12@queensu.ca::a4c6041a-9148-4312-a7d5-63483cb1f2ab" providerId="AD" clId="Web-{490A41D7-160A-338A-AB24-5120EFEADDC5}" dt="2021-07-25T18:17:49.412" v="697" actId="20577"/>
          <ac:spMkLst>
            <pc:docMk/>
            <pc:sldMk cId="530549270" sldId="270"/>
            <ac:spMk id="62" creationId="{64A94FB8-DF36-42A9-8080-CE08A202FF6B}"/>
          </ac:spMkLst>
        </pc:spChg>
        <pc:spChg chg="mod">
          <ac:chgData name="Gopala Goyal" userId="S::20gg12@queensu.ca::a4c6041a-9148-4312-a7d5-63483cb1f2ab" providerId="AD" clId="Web-{490A41D7-160A-338A-AB24-5120EFEADDC5}" dt="2021-07-25T18:17:36.225" v="681" actId="20577"/>
          <ac:spMkLst>
            <pc:docMk/>
            <pc:sldMk cId="530549270" sldId="270"/>
            <ac:spMk id="63" creationId="{A8573706-6DEF-4097-9BF3-BBA83E0B1ED7}"/>
          </ac:spMkLst>
        </pc:spChg>
        <pc:spChg chg="mod">
          <ac:chgData name="Gopala Goyal" userId="S::20gg12@queensu.ca::a4c6041a-9148-4312-a7d5-63483cb1f2ab" providerId="AD" clId="Web-{490A41D7-160A-338A-AB24-5120EFEADDC5}" dt="2021-07-25T18:16:49.787" v="629" actId="20577"/>
          <ac:spMkLst>
            <pc:docMk/>
            <pc:sldMk cId="530549270" sldId="270"/>
            <ac:spMk id="64" creationId="{30D5BCFA-82B9-4F06-933B-523F8BF94CCE}"/>
          </ac:spMkLst>
        </pc:spChg>
      </pc:sldChg>
      <pc:sldChg chg="modNotes">
        <pc:chgData name="Gopala Goyal" userId="S::20gg12@queensu.ca::a4c6041a-9148-4312-a7d5-63483cb1f2ab" providerId="AD" clId="Web-{490A41D7-160A-338A-AB24-5120EFEADDC5}" dt="2021-07-25T18:22:42.976" v="855"/>
        <pc:sldMkLst>
          <pc:docMk/>
          <pc:sldMk cId="2990059952" sldId="271"/>
        </pc:sldMkLst>
      </pc:sldChg>
      <pc:sldChg chg="modSp">
        <pc:chgData name="Gopala Goyal" userId="S::20gg12@queensu.ca::a4c6041a-9148-4312-a7d5-63483cb1f2ab" providerId="AD" clId="Web-{490A41D7-160A-338A-AB24-5120EFEADDC5}" dt="2021-07-25T18:26:58.259" v="958" actId="20577"/>
        <pc:sldMkLst>
          <pc:docMk/>
          <pc:sldMk cId="3212288735" sldId="272"/>
        </pc:sldMkLst>
        <pc:spChg chg="mod">
          <ac:chgData name="Gopala Goyal" userId="S::20gg12@queensu.ca::a4c6041a-9148-4312-a7d5-63483cb1f2ab" providerId="AD" clId="Web-{490A41D7-160A-338A-AB24-5120EFEADDC5}" dt="2021-07-25T18:26:58.259" v="958" actId="20577"/>
          <ac:spMkLst>
            <pc:docMk/>
            <pc:sldMk cId="3212288735" sldId="272"/>
            <ac:spMk id="28" creationId="{B9534F8C-E282-47DB-826E-414201B7523C}"/>
          </ac:spMkLst>
        </pc:spChg>
      </pc:sldChg>
    </pc:docChg>
  </pc:docChgLst>
  <pc:docChgLst>
    <pc:chgData name="Faiza Shallwani" userId="S::21fs20@queensu.ca::31de7e11-baf0-46c5-99b8-eac5c5cfad97" providerId="AD" clId="Web-{A3553883-73E0-36A3-D999-A10DD6125F4D}"/>
    <pc:docChg chg="modSld">
      <pc:chgData name="Faiza Shallwani" userId="S::21fs20@queensu.ca::31de7e11-baf0-46c5-99b8-eac5c5cfad97" providerId="AD" clId="Web-{A3553883-73E0-36A3-D999-A10DD6125F4D}" dt="2021-07-24T21:50:17.492" v="136" actId="20577"/>
      <pc:docMkLst>
        <pc:docMk/>
      </pc:docMkLst>
      <pc:sldChg chg="modSp">
        <pc:chgData name="Faiza Shallwani" userId="S::21fs20@queensu.ca::31de7e11-baf0-46c5-99b8-eac5c5cfad97" providerId="AD" clId="Web-{A3553883-73E0-36A3-D999-A10DD6125F4D}" dt="2021-07-24T21:43:48.050" v="66" actId="20577"/>
        <pc:sldMkLst>
          <pc:docMk/>
          <pc:sldMk cId="530549270" sldId="270"/>
        </pc:sldMkLst>
        <pc:spChg chg="mod">
          <ac:chgData name="Faiza Shallwani" userId="S::21fs20@queensu.ca::31de7e11-baf0-46c5-99b8-eac5c5cfad97" providerId="AD" clId="Web-{A3553883-73E0-36A3-D999-A10DD6125F4D}" dt="2021-07-24T21:43:48.050" v="66" actId="20577"/>
          <ac:spMkLst>
            <pc:docMk/>
            <pc:sldMk cId="530549270" sldId="270"/>
            <ac:spMk id="5" creationId="{C4D95F85-EAC0-46D5-BB19-9B17186EFDDF}"/>
          </ac:spMkLst>
        </pc:spChg>
        <pc:spChg chg="mod">
          <ac:chgData name="Faiza Shallwani" userId="S::21fs20@queensu.ca::31de7e11-baf0-46c5-99b8-eac5c5cfad97" providerId="AD" clId="Web-{A3553883-73E0-36A3-D999-A10DD6125F4D}" dt="2021-07-24T21:40:23.751" v="13" actId="20577"/>
          <ac:spMkLst>
            <pc:docMk/>
            <pc:sldMk cId="530549270" sldId="270"/>
            <ac:spMk id="62" creationId="{64A94FB8-DF36-42A9-8080-CE08A202FF6B}"/>
          </ac:spMkLst>
        </pc:spChg>
        <pc:spChg chg="mod">
          <ac:chgData name="Faiza Shallwani" userId="S::21fs20@queensu.ca::31de7e11-baf0-46c5-99b8-eac5c5cfad97" providerId="AD" clId="Web-{A3553883-73E0-36A3-D999-A10DD6125F4D}" dt="2021-07-24T21:40:21.126" v="11" actId="20577"/>
          <ac:spMkLst>
            <pc:docMk/>
            <pc:sldMk cId="530549270" sldId="270"/>
            <ac:spMk id="63" creationId="{A8573706-6DEF-4097-9BF3-BBA83E0B1ED7}"/>
          </ac:spMkLst>
        </pc:spChg>
        <pc:spChg chg="mod">
          <ac:chgData name="Faiza Shallwani" userId="S::21fs20@queensu.ca::31de7e11-baf0-46c5-99b8-eac5c5cfad97" providerId="AD" clId="Web-{A3553883-73E0-36A3-D999-A10DD6125F4D}" dt="2021-07-24T21:40:14.719" v="9" actId="20577"/>
          <ac:spMkLst>
            <pc:docMk/>
            <pc:sldMk cId="530549270" sldId="270"/>
            <ac:spMk id="64" creationId="{30D5BCFA-82B9-4F06-933B-523F8BF94CCE}"/>
          </ac:spMkLst>
        </pc:spChg>
      </pc:sldChg>
      <pc:sldChg chg="addSp delSp modSp">
        <pc:chgData name="Faiza Shallwani" userId="S::21fs20@queensu.ca::31de7e11-baf0-46c5-99b8-eac5c5cfad97" providerId="AD" clId="Web-{A3553883-73E0-36A3-D999-A10DD6125F4D}" dt="2021-07-24T21:45:50.395" v="102" actId="14100"/>
        <pc:sldMkLst>
          <pc:docMk/>
          <pc:sldMk cId="2990059952" sldId="271"/>
        </pc:sldMkLst>
        <pc:spChg chg="mod">
          <ac:chgData name="Faiza Shallwani" userId="S::21fs20@queensu.ca::31de7e11-baf0-46c5-99b8-eac5c5cfad97" providerId="AD" clId="Web-{A3553883-73E0-36A3-D999-A10DD6125F4D}" dt="2021-07-24T21:43:57.441" v="75" actId="20577"/>
          <ac:spMkLst>
            <pc:docMk/>
            <pc:sldMk cId="2990059952" sldId="271"/>
            <ac:spMk id="9" creationId="{0F707817-3D7C-4331-921F-12A391D92C32}"/>
          </ac:spMkLst>
        </pc:spChg>
        <pc:spChg chg="mod">
          <ac:chgData name="Faiza Shallwani" userId="S::21fs20@queensu.ca::31de7e11-baf0-46c5-99b8-eac5c5cfad97" providerId="AD" clId="Web-{A3553883-73E0-36A3-D999-A10DD6125F4D}" dt="2021-07-24T21:44:44.051" v="80" actId="1076"/>
          <ac:spMkLst>
            <pc:docMk/>
            <pc:sldMk cId="2990059952" sldId="271"/>
            <ac:spMk id="10" creationId="{677275E8-2BF6-4E4D-A304-F243FC1666C9}"/>
          </ac:spMkLst>
        </pc:spChg>
        <pc:spChg chg="mod">
          <ac:chgData name="Faiza Shallwani" userId="S::21fs20@queensu.ca::31de7e11-baf0-46c5-99b8-eac5c5cfad97" providerId="AD" clId="Web-{A3553883-73E0-36A3-D999-A10DD6125F4D}" dt="2021-07-24T21:45:01.707" v="82" actId="20577"/>
          <ac:spMkLst>
            <pc:docMk/>
            <pc:sldMk cId="2990059952" sldId="271"/>
            <ac:spMk id="11" creationId="{92EDE873-5715-4D35-B424-516F08DECAC4}"/>
          </ac:spMkLst>
        </pc:spChg>
        <pc:spChg chg="mod">
          <ac:chgData name="Faiza Shallwani" userId="S::21fs20@queensu.ca::31de7e11-baf0-46c5-99b8-eac5c5cfad97" providerId="AD" clId="Web-{A3553883-73E0-36A3-D999-A10DD6125F4D}" dt="2021-07-24T21:45:35.661" v="95" actId="20577"/>
          <ac:spMkLst>
            <pc:docMk/>
            <pc:sldMk cId="2990059952" sldId="271"/>
            <ac:spMk id="13" creationId="{5CB80ADE-4D2F-4EF6-9AF5-2F506D6F6366}"/>
          </ac:spMkLst>
        </pc:spChg>
        <pc:spChg chg="add del">
          <ac:chgData name="Faiza Shallwani" userId="S::21fs20@queensu.ca::31de7e11-baf0-46c5-99b8-eac5c5cfad97" providerId="AD" clId="Web-{A3553883-73E0-36A3-D999-A10DD6125F4D}" dt="2021-07-24T21:44:19.660" v="77"/>
          <ac:spMkLst>
            <pc:docMk/>
            <pc:sldMk cId="2990059952" sldId="271"/>
            <ac:spMk id="15" creationId="{1DE19D0C-FC41-4213-9218-5090FFB38AC4}"/>
          </ac:spMkLst>
        </pc:spChg>
        <pc:spChg chg="mod">
          <ac:chgData name="Faiza Shallwani" userId="S::21fs20@queensu.ca::31de7e11-baf0-46c5-99b8-eac5c5cfad97" providerId="AD" clId="Web-{A3553883-73E0-36A3-D999-A10DD6125F4D}" dt="2021-07-24T21:45:50.395" v="102" actId="14100"/>
          <ac:spMkLst>
            <pc:docMk/>
            <pc:sldMk cId="2990059952" sldId="271"/>
            <ac:spMk id="44" creationId="{577FA176-043F-4F32-8EE8-B5F3A5187609}"/>
          </ac:spMkLst>
        </pc:spChg>
      </pc:sldChg>
      <pc:sldChg chg="modSp">
        <pc:chgData name="Faiza Shallwani" userId="S::21fs20@queensu.ca::31de7e11-baf0-46c5-99b8-eac5c5cfad97" providerId="AD" clId="Web-{A3553883-73E0-36A3-D999-A10DD6125F4D}" dt="2021-07-24T21:46:28.536" v="110" actId="20577"/>
        <pc:sldMkLst>
          <pc:docMk/>
          <pc:sldMk cId="3212288735" sldId="272"/>
        </pc:sldMkLst>
        <pc:spChg chg="mod">
          <ac:chgData name="Faiza Shallwani" userId="S::21fs20@queensu.ca::31de7e11-baf0-46c5-99b8-eac5c5cfad97" providerId="AD" clId="Web-{A3553883-73E0-36A3-D999-A10DD6125F4D}" dt="2021-07-24T21:46:28.536" v="110" actId="20577"/>
          <ac:spMkLst>
            <pc:docMk/>
            <pc:sldMk cId="3212288735" sldId="272"/>
            <ac:spMk id="27" creationId="{E1F557C8-2D81-49DB-ADFF-F17730E48F94}"/>
          </ac:spMkLst>
        </pc:spChg>
      </pc:sldChg>
      <pc:sldChg chg="modSp">
        <pc:chgData name="Faiza Shallwani" userId="S::21fs20@queensu.ca::31de7e11-baf0-46c5-99b8-eac5c5cfad97" providerId="AD" clId="Web-{A3553883-73E0-36A3-D999-A10DD6125F4D}" dt="2021-07-24T21:50:17.492" v="136" actId="20577"/>
        <pc:sldMkLst>
          <pc:docMk/>
          <pc:sldMk cId="2667699651" sldId="276"/>
        </pc:sldMkLst>
        <pc:spChg chg="mod">
          <ac:chgData name="Faiza Shallwani" userId="S::21fs20@queensu.ca::31de7e11-baf0-46c5-99b8-eac5c5cfad97" providerId="AD" clId="Web-{A3553883-73E0-36A3-D999-A10DD6125F4D}" dt="2021-07-24T21:50:17.492" v="136" actId="20577"/>
          <ac:spMkLst>
            <pc:docMk/>
            <pc:sldMk cId="2667699651" sldId="276"/>
            <ac:spMk id="22" creationId="{D8A85EE4-DBB7-490F-8E8C-A956F71B8E80}"/>
          </ac:spMkLst>
        </pc:spChg>
        <pc:spChg chg="mod">
          <ac:chgData name="Faiza Shallwani" userId="S::21fs20@queensu.ca::31de7e11-baf0-46c5-99b8-eac5c5cfad97" providerId="AD" clId="Web-{A3553883-73E0-36A3-D999-A10DD6125F4D}" dt="2021-07-24T21:49:16.757" v="114" actId="20577"/>
          <ac:spMkLst>
            <pc:docMk/>
            <pc:sldMk cId="2667699651" sldId="276"/>
            <ac:spMk id="26" creationId="{357A144B-4626-4A5C-9919-6FCF444D4D0C}"/>
          </ac:spMkLst>
        </pc:spChg>
        <pc:spChg chg="mod">
          <ac:chgData name="Faiza Shallwani" userId="S::21fs20@queensu.ca::31de7e11-baf0-46c5-99b8-eac5c5cfad97" providerId="AD" clId="Web-{A3553883-73E0-36A3-D999-A10DD6125F4D}" dt="2021-07-24T21:49:38.211" v="124" actId="20577"/>
          <ac:spMkLst>
            <pc:docMk/>
            <pc:sldMk cId="2667699651" sldId="276"/>
            <ac:spMk id="27" creationId="{255385AF-681D-4EFC-BC30-24E994C7CB5F}"/>
          </ac:spMkLst>
        </pc:spChg>
      </pc:sldChg>
    </pc:docChg>
  </pc:docChgLst>
  <pc:docChgLst>
    <pc:chgData name="Sushil Megharaj" userId="S::20ms81@queensu.ca::c6e1b6b5-07e0-4041-a3fd-d9575981b68e" providerId="AD" clId="Web-{80D95404-5EFC-286B-67F6-AAFFD7C0DDA5}"/>
    <pc:docChg chg="modSld">
      <pc:chgData name="Sushil Megharaj" userId="S::20ms81@queensu.ca::c6e1b6b5-07e0-4041-a3fd-d9575981b68e" providerId="AD" clId="Web-{80D95404-5EFC-286B-67F6-AAFFD7C0DDA5}" dt="2021-07-24T15:20:45.718" v="5" actId="20577"/>
      <pc:docMkLst>
        <pc:docMk/>
      </pc:docMkLst>
      <pc:sldChg chg="modSp">
        <pc:chgData name="Sushil Megharaj" userId="S::20ms81@queensu.ca::c6e1b6b5-07e0-4041-a3fd-d9575981b68e" providerId="AD" clId="Web-{80D95404-5EFC-286B-67F6-AAFFD7C0DDA5}" dt="2021-07-24T15:19:50.639" v="2" actId="20577"/>
        <pc:sldMkLst>
          <pc:docMk/>
          <pc:sldMk cId="3297654295" sldId="274"/>
        </pc:sldMkLst>
        <pc:spChg chg="mod">
          <ac:chgData name="Sushil Megharaj" userId="S::20ms81@queensu.ca::c6e1b6b5-07e0-4041-a3fd-d9575981b68e" providerId="AD" clId="Web-{80D95404-5EFC-286B-67F6-AAFFD7C0DDA5}" dt="2021-07-24T15:19:50.639" v="2" actId="20577"/>
          <ac:spMkLst>
            <pc:docMk/>
            <pc:sldMk cId="3297654295" sldId="274"/>
            <ac:spMk id="2" creationId="{D5A540CE-49AA-43CF-B90D-38FC5BAB1C23}"/>
          </ac:spMkLst>
        </pc:spChg>
      </pc:sldChg>
      <pc:sldChg chg="modSp">
        <pc:chgData name="Sushil Megharaj" userId="S::20ms81@queensu.ca::c6e1b6b5-07e0-4041-a3fd-d9575981b68e" providerId="AD" clId="Web-{80D95404-5EFC-286B-67F6-AAFFD7C0DDA5}" dt="2021-07-24T15:20:45.718" v="5" actId="20577"/>
        <pc:sldMkLst>
          <pc:docMk/>
          <pc:sldMk cId="2667699651" sldId="276"/>
        </pc:sldMkLst>
        <pc:spChg chg="mod">
          <ac:chgData name="Sushil Megharaj" userId="S::20ms81@queensu.ca::c6e1b6b5-07e0-4041-a3fd-d9575981b68e" providerId="AD" clId="Web-{80D95404-5EFC-286B-67F6-AAFFD7C0DDA5}" dt="2021-07-24T15:20:45.718" v="5" actId="20577"/>
          <ac:spMkLst>
            <pc:docMk/>
            <pc:sldMk cId="2667699651" sldId="276"/>
            <ac:spMk id="26" creationId="{357A144B-4626-4A5C-9919-6FCF444D4D0C}"/>
          </ac:spMkLst>
        </pc:spChg>
      </pc:sldChg>
    </pc:docChg>
  </pc:docChgLst>
  <pc:docChgLst>
    <pc:chgData name="Faiza Shallwani" userId="S::21fs20@queensu.ca::31de7e11-baf0-46c5-99b8-eac5c5cfad97" providerId="AD" clId="Web-{22C870A7-CAAC-3EBE-03CC-09B5C62D1F7C}"/>
    <pc:docChg chg="modSld">
      <pc:chgData name="Faiza Shallwani" userId="S::21fs20@queensu.ca::31de7e11-baf0-46c5-99b8-eac5c5cfad97" providerId="AD" clId="Web-{22C870A7-CAAC-3EBE-03CC-09B5C62D1F7C}" dt="2021-07-25T19:11:03.085" v="0" actId="20577"/>
      <pc:docMkLst>
        <pc:docMk/>
      </pc:docMkLst>
      <pc:sldChg chg="modSp">
        <pc:chgData name="Faiza Shallwani" userId="S::21fs20@queensu.ca::31de7e11-baf0-46c5-99b8-eac5c5cfad97" providerId="AD" clId="Web-{22C870A7-CAAC-3EBE-03CC-09B5C62D1F7C}" dt="2021-07-25T19:11:03.085" v="0" actId="20577"/>
        <pc:sldMkLst>
          <pc:docMk/>
          <pc:sldMk cId="513114675" sldId="269"/>
        </pc:sldMkLst>
        <pc:spChg chg="mod">
          <ac:chgData name="Faiza Shallwani" userId="S::21fs20@queensu.ca::31de7e11-baf0-46c5-99b8-eac5c5cfad97" providerId="AD" clId="Web-{22C870A7-CAAC-3EBE-03CC-09B5C62D1F7C}" dt="2021-07-25T19:11:03.085" v="0" actId="20577"/>
          <ac:spMkLst>
            <pc:docMk/>
            <pc:sldMk cId="513114675" sldId="269"/>
            <ac:spMk id="9" creationId="{DB33A030-F9C9-44E9-A04B-6CC4C36F4EE5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7-24T03:15:28.178"/>
    </inkml:context>
    <inkml:brush xml:id="br0">
      <inkml:brushProperty name="width" value="0.05" units="cm"/>
      <inkml:brushProperty name="height" value="0.05" units="cm"/>
      <inkml:brushProperty name="color" value="#FFC114"/>
      <inkml:brushProperty name="ignorePressure" value="1"/>
    </inkml:brush>
  </inkml:definitions>
  <inkml:trace contextRef="#ctx0" brushRef="#br0">0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7-24T03:15:31.947"/>
    </inkml:context>
    <inkml:brush xml:id="br0">
      <inkml:brushProperty name="width" value="0.05" units="cm"/>
      <inkml:brushProperty name="height" value="0.05" units="cm"/>
      <inkml:brushProperty name="color" value="#FFC114"/>
      <inkml:brushProperty name="ignorePressure" value="1"/>
    </inkml:brush>
  </inkml:definitions>
  <inkml:trace contextRef="#ctx0" brushRef="#br0">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3E6FC9-054F-9149-B7EF-7334315A5336}" type="datetimeFigureOut">
              <a:rPr lang="en-US" smtClean="0"/>
              <a:t>8/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98415B-53E7-0A41-9E86-2970EFA2F1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413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98415B-53E7-0A41-9E86-2970EFA2F18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5988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Investment management company -&gt; different portfolios according to the client base</a:t>
            </a:r>
          </a:p>
          <a:p>
            <a:r>
              <a:rPr lang="en-US">
                <a:cs typeface="Calibri"/>
              </a:rPr>
              <a:t>Meant for leadership team</a:t>
            </a:r>
            <a:endParaRPr lang="en-US"/>
          </a:p>
          <a:p>
            <a:r>
              <a:rPr lang="en-US">
                <a:cs typeface="Calibri"/>
              </a:rPr>
              <a:t>Have been tasked to develop an analytics-based tool for our portfolio managers who are currently doing their work manual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98415B-53E7-0A41-9E86-2970EFA2F18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2656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Passive portfolios -&gt; invest and forget</a:t>
            </a:r>
          </a:p>
          <a:p>
            <a:r>
              <a:rPr lang="en-US">
                <a:cs typeface="Calibri"/>
              </a:rPr>
              <a:t>Investment suggestions by bots/automated tools</a:t>
            </a:r>
          </a:p>
          <a:p>
            <a:r>
              <a:rPr lang="en-US">
                <a:cs typeface="Calibri"/>
              </a:rPr>
              <a:t>Low/less knowledge people can also invest with help</a:t>
            </a:r>
          </a:p>
          <a:p>
            <a:r>
              <a:rPr lang="en-US">
                <a:cs typeface="Calibri"/>
              </a:rPr>
              <a:t>With pandemic -&gt; physical interaction reduced</a:t>
            </a:r>
          </a:p>
          <a:p>
            <a:r>
              <a:rPr lang="en-US"/>
              <a:t>Different risk profiles – one size doesn't fit all -&gt; tailored solu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98415B-53E7-0A41-9E86-2970EFA2F18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679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Now we have the risk profile</a:t>
            </a:r>
          </a:p>
          <a:p>
            <a:r>
              <a:rPr lang="en-US">
                <a:cs typeface="Calibri"/>
              </a:rPr>
              <a:t>Now we can do it through LP to automate and introduce analytics</a:t>
            </a:r>
          </a:p>
          <a:p>
            <a:r>
              <a:rPr lang="en-US">
                <a:cs typeface="Calibri"/>
              </a:rPr>
              <a:t>4-5 major requirements</a:t>
            </a:r>
            <a:br>
              <a:rPr lang="en-US">
                <a:cs typeface="+mn-lt"/>
              </a:rPr>
            </a:br>
            <a:r>
              <a:rPr lang="en-US">
                <a:cs typeface="Calibri"/>
              </a:rPr>
              <a:t>Referred -&gt; Fidelity.c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98415B-53E7-0A41-9E86-2970EFA2F18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292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/>
              <a:t>Notes: </a:t>
            </a:r>
            <a:r>
              <a:rPr lang="en-US" sz="1200">
                <a:solidFill>
                  <a:schemeClr val="tx1"/>
                </a:solidFill>
              </a:rPr>
              <a:t>(</a:t>
            </a:r>
            <a:r>
              <a:rPr lang="en-CA" sz="1200">
                <a:solidFill>
                  <a:schemeClr val="tx1"/>
                </a:solidFill>
              </a:rPr>
              <a:t>includes regulatory, mandatory, addition of new companies and so on</a:t>
            </a:r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98415B-53E7-0A41-9E86-2970EFA2F18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596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6095A-0D7E-6E4A-B36B-5768AA18F3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137B57-0D78-324A-9297-3EF9FFBF0A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270CB1-5F30-F04F-BB52-FABF925C26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ACA2C-95B0-9E44-BBFF-4D6DE6A7E758}" type="datetimeFigureOut">
              <a:rPr lang="en-US" smtClean="0"/>
              <a:t>8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A14820-C7A0-0D41-89A8-695792819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83A156-60AA-7446-96B6-978FAD2E48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6A6D3-A48A-6B41-AB30-7238AD4CB6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9061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CAB05B-294C-274C-AD38-09BCD4B59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4FD484-75BE-F346-ACE1-A9FE727635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5B427A-A531-F044-AB9B-5130976AA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ACA2C-95B0-9E44-BBFF-4D6DE6A7E758}" type="datetimeFigureOut">
              <a:rPr lang="en-US" smtClean="0"/>
              <a:t>8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6BFA60-2854-DD4A-9D12-10DABE39E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57907B-5CBD-F445-B5FC-0CF15A382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6A6D3-A48A-6B41-AB30-7238AD4CB6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065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51D66FA-E224-E34B-A701-F8E5288B627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EF56F0-8330-D440-8BD3-DFDE47C6C0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7BBEF2-830F-C846-942A-AA2536479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ACA2C-95B0-9E44-BBFF-4D6DE6A7E758}" type="datetimeFigureOut">
              <a:rPr lang="en-US" smtClean="0"/>
              <a:t>8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817639-ECB4-5B40-8B20-1CF7284EEC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7DD18-044F-C14B-BB7E-BF5C640EA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6A6D3-A48A-6B41-AB30-7238AD4CB6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56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A7F90-6F0C-E34B-AB2E-6E2638208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10F47A-8CE7-CE42-8B38-F9B7964375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639556-31CF-A041-A1F1-47E9B1C99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ACA2C-95B0-9E44-BBFF-4D6DE6A7E758}" type="datetimeFigureOut">
              <a:rPr lang="en-US" smtClean="0"/>
              <a:t>8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A6D2CF-C562-864C-B303-71BEE0120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1776FD-02DD-1C44-BA61-20C5EF523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6A6D3-A48A-6B41-AB30-7238AD4CB6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0220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DB062A-A7D0-AD4F-9AE2-F74F6E75B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02F87B-5588-7743-A585-09B44258C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71EE81-E8F9-9D41-8C64-B8D5481EDF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ACA2C-95B0-9E44-BBFF-4D6DE6A7E758}" type="datetimeFigureOut">
              <a:rPr lang="en-US" smtClean="0"/>
              <a:t>8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97C48E-E2E0-874F-9041-A9A7121EF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0F5E95-B7C0-5041-A90F-C1FD8646C7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6A6D3-A48A-6B41-AB30-7238AD4CB6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0980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5067E-A0B6-5D4D-BFCD-E4FC22B31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25AF5E-2F05-0541-BE62-EFC5C7E72D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5F2D28-DDFA-FF47-9850-4A86749F8D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315403-3F6F-AA40-98AC-0127BFD08C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ACA2C-95B0-9E44-BBFF-4D6DE6A7E758}" type="datetimeFigureOut">
              <a:rPr lang="en-US" smtClean="0"/>
              <a:t>8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9A6A7E-5ECB-9846-AAF0-047EA2D68F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CE6D29-3C40-4D45-9A73-42B26D803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6A6D3-A48A-6B41-AB30-7238AD4CB6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934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F5302-F2C8-754B-878B-171AE403DE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472162-2488-FD41-9D7F-379873E8A0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DD7F2A-C636-2148-8614-F6A4BB61AE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4F20B6-872C-DB4B-9369-EACFA0670E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D99693-E522-5341-9041-3AFE747BB8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CAED8F-B401-584F-8B3D-2873B57E79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ACA2C-95B0-9E44-BBFF-4D6DE6A7E758}" type="datetimeFigureOut">
              <a:rPr lang="en-US" smtClean="0"/>
              <a:t>8/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C17B9B-AE4B-BE47-AD4B-C3BBDF4CB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74F4252-853A-424D-8D89-FDDA15F98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6A6D3-A48A-6B41-AB30-7238AD4CB6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058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946BC-4C07-0742-B391-8A4C495B7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AB3E52-00D5-C047-A33B-AADB3EC54D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ACA2C-95B0-9E44-BBFF-4D6DE6A7E758}" type="datetimeFigureOut">
              <a:rPr lang="en-US" smtClean="0"/>
              <a:t>8/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410D6D-D05A-1840-8E9D-6DCD1789FF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36397E-5C9D-4744-99E3-46D9A94D9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6A6D3-A48A-6B41-AB30-7238AD4CB6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1226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81E5DF7-569B-447D-8A4A-F301E0216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855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81E5DF7-569B-447D-8A4A-F301E0216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A107FFE-0CD0-414B-8C7C-DDD03FAFC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ACA2C-95B0-9E44-BBFF-4D6DE6A7E758}" type="datetimeFigureOut">
              <a:rPr lang="en-US" smtClean="0"/>
              <a:t>8/1/2021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213D1-3029-794F-8549-444D6D171D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6A6D3-A48A-6B41-AB30-7238AD4CB62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39CCFE-175F-4868-88E6-A9062DF11DD5}"/>
              </a:ext>
            </a:extLst>
          </p:cNvPr>
          <p:cNvSpPr/>
          <p:nvPr userDrawn="1"/>
        </p:nvSpPr>
        <p:spPr>
          <a:xfrm>
            <a:off x="-1193800" y="1739900"/>
            <a:ext cx="685800" cy="254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FE04898-69C2-48C2-BD20-50D51A711AAC}"/>
              </a:ext>
            </a:extLst>
          </p:cNvPr>
          <p:cNvSpPr/>
          <p:nvPr userDrawn="1"/>
        </p:nvSpPr>
        <p:spPr>
          <a:xfrm>
            <a:off x="-1193800" y="2082800"/>
            <a:ext cx="685800" cy="25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6CE2A4C-7358-4231-A7C0-3B75BF45FFFD}"/>
              </a:ext>
            </a:extLst>
          </p:cNvPr>
          <p:cNvSpPr/>
          <p:nvPr userDrawn="1"/>
        </p:nvSpPr>
        <p:spPr>
          <a:xfrm>
            <a:off x="-1193800" y="2425700"/>
            <a:ext cx="685800" cy="254000"/>
          </a:xfrm>
          <a:prstGeom prst="rect">
            <a:avLst/>
          </a:prstGeom>
          <a:solidFill>
            <a:srgbClr val="B72F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92E997-C773-4B6B-B6BE-49BA74C952A7}"/>
              </a:ext>
            </a:extLst>
          </p:cNvPr>
          <p:cNvSpPr/>
          <p:nvPr userDrawn="1"/>
        </p:nvSpPr>
        <p:spPr>
          <a:xfrm>
            <a:off x="-1193800" y="2768600"/>
            <a:ext cx="685800" cy="254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1361050-95A7-4FC8-A4C2-E19F95FA6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0990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C0E44-666C-224A-A5C5-7489287F3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F951D-7394-BA4A-99FE-8E0A8B2F6B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709C92-EF3E-AA4E-91CD-30993E508F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BC358F-B37D-7142-8756-598B8EE14F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ACA2C-95B0-9E44-BBFF-4D6DE6A7E758}" type="datetimeFigureOut">
              <a:rPr lang="en-US" smtClean="0"/>
              <a:t>8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5625E8-24F3-944C-82F3-757019FBF9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FB2FA2-A3FD-9040-BA6D-08B42B3FD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6A6D3-A48A-6B41-AB30-7238AD4CB6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3476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B1BF6E-4625-B843-B0A3-C1C8248E1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9EA4895-CC02-A94B-9124-93AC4CCF289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B9230F-408E-F744-AAB7-AF7F60FF3E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7A9594-D0A8-9B4D-998F-177D0F3737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ACA2C-95B0-9E44-BBFF-4D6DE6A7E758}" type="datetimeFigureOut">
              <a:rPr lang="en-US" smtClean="0"/>
              <a:t>8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B2E596-217C-5046-8644-F13CC9133D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E3A930-9DCC-3749-9C65-0E5F2680D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6A6D3-A48A-6B41-AB30-7238AD4CB6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8438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41BA05B-572E-488E-A24F-11085346DB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02846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41BA05B-572E-488E-A24F-11085346D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CE5F0D-6356-764A-8FC7-790CB8910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ABBDA3-E8EB-714B-AC08-AA63693C4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05829E-B3CF-9B46-9372-57BC6ECAE0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0ACA2C-95B0-9E44-BBFF-4D6DE6A7E758}" type="datetimeFigureOut">
              <a:rPr lang="en-US" smtClean="0"/>
              <a:t>8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17813-9A63-B945-BE5F-4B941391C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C30A6E-BE03-B24F-96EB-B8F292FD6D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C6A6D3-A48A-6B41-AB30-7238AD4CB6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771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tiff"/><Relationship Id="rId4" Type="http://schemas.openxmlformats.org/officeDocument/2006/relationships/image" Target="../media/image4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ustomXml" Target="../ink/ink2.xm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customXml" Target="../ink/ink1.xml"/><Relationship Id="rId11" Type="http://schemas.openxmlformats.org/officeDocument/2006/relationships/image" Target="../media/image9.tiff"/><Relationship Id="rId5" Type="http://schemas.openxmlformats.org/officeDocument/2006/relationships/image" Target="../media/image1.emf"/><Relationship Id="rId10" Type="http://schemas.openxmlformats.org/officeDocument/2006/relationships/image" Target="../media/image8.tiff"/><Relationship Id="rId4" Type="http://schemas.openxmlformats.org/officeDocument/2006/relationships/oleObject" Target="../embeddings/oleObject4.bin"/><Relationship Id="rId9" Type="http://schemas.openxmlformats.org/officeDocument/2006/relationships/image" Target="../media/image7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tif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tif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tif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3.tif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tif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5.tif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7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7" name="Rectangle 15">
            <a:extLst>
              <a:ext uri="{FF2B5EF4-FFF2-40B4-BE49-F238E27FC236}">
                <a16:creationId xmlns:a16="http://schemas.microsoft.com/office/drawing/2014/main" id="{665DBBEF-238B-476B-96AB-8AAC3224EC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454C6F-A9E9-C54D-8D0E-8F2CC6EB06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8882" y="639193"/>
            <a:ext cx="3571810" cy="3573516"/>
          </a:xfrm>
        </p:spPr>
        <p:txBody>
          <a:bodyPr>
            <a:normAutofit/>
          </a:bodyPr>
          <a:lstStyle/>
          <a:p>
            <a:pPr algn="l"/>
            <a:r>
              <a:rPr lang="en-US" sz="5600">
                <a:cs typeface="Calibri Light"/>
              </a:rPr>
              <a:t>Alfred Investment Compan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D2C084-7ABD-2045-BBE4-A367A2C1AC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8882" y="4631161"/>
            <a:ext cx="3571810" cy="1559327"/>
          </a:xfrm>
        </p:spPr>
        <p:txBody>
          <a:bodyPr vert="horz" lIns="91440" tIns="45720" rIns="91440" bIns="45720" rtlCol="0">
            <a:normAutofit/>
          </a:bodyPr>
          <a:lstStyle/>
          <a:p>
            <a:pPr algn="l"/>
            <a:r>
              <a:rPr lang="en-IN">
                <a:cs typeface="Calibri"/>
              </a:rPr>
              <a:t>Team Alfred</a:t>
            </a:r>
          </a:p>
          <a:p>
            <a:pPr algn="l"/>
            <a:br>
              <a:rPr lang="en-IN">
                <a:cs typeface="Calibri"/>
              </a:rPr>
            </a:br>
            <a:fld id="{0F90A579-E02A-5F4C-8602-7F4E3BEAFBCE}" type="datetime3">
              <a:rPr lang="en-IN" sz="1600" smtClean="0">
                <a:cs typeface="Calibri"/>
              </a:rPr>
              <a:t>1 August 2021</a:t>
            </a:fld>
            <a:endParaRPr lang="en-US" sz="1600">
              <a:cs typeface="Calibri"/>
            </a:endParaRPr>
          </a:p>
        </p:txBody>
      </p:sp>
      <p:sp>
        <p:nvSpPr>
          <p:cNvPr id="28" name="sketch line">
            <a:extLst>
              <a:ext uri="{FF2B5EF4-FFF2-40B4-BE49-F238E27FC236}">
                <a16:creationId xmlns:a16="http://schemas.microsoft.com/office/drawing/2014/main" id="{3FCFB1DE-0B7E-48CC-BA90-B2AB0889F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278" y="4409267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6AA31B-EACF-4F39-82A8-BB56CFE3C43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tretch/>
        </p:blipFill>
        <p:spPr>
          <a:xfrm>
            <a:off x="4654296" y="1386173"/>
            <a:ext cx="7214616" cy="4058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6496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A626A2-A494-46FE-94EE-6BD0575CD1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5494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A626A2-A494-46FE-94EE-6BD0575C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553EF5-FADB-40AC-A25F-84440F226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ay forward</a:t>
            </a:r>
            <a:endParaRPr lang="en-C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D2DC93F-73D9-4FA9-85CF-6ADABE49743F}"/>
              </a:ext>
            </a:extLst>
          </p:cNvPr>
          <p:cNvSpPr/>
          <p:nvPr/>
        </p:nvSpPr>
        <p:spPr>
          <a:xfrm>
            <a:off x="959790" y="651901"/>
            <a:ext cx="2670101" cy="77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5" name="Right Arrow 48">
            <a:extLst>
              <a:ext uri="{FF2B5EF4-FFF2-40B4-BE49-F238E27FC236}">
                <a16:creationId xmlns:a16="http://schemas.microsoft.com/office/drawing/2014/main" id="{C6DB10CB-BC3E-482E-AC44-F9DAB9F5A25F}"/>
              </a:ext>
            </a:extLst>
          </p:cNvPr>
          <p:cNvSpPr/>
          <p:nvPr/>
        </p:nvSpPr>
        <p:spPr>
          <a:xfrm>
            <a:off x="1120632" y="1478193"/>
            <a:ext cx="7760626" cy="1760220"/>
          </a:xfrm>
          <a:prstGeom prst="rightArrow">
            <a:avLst>
              <a:gd name="adj1" fmla="val 66450"/>
              <a:gd name="adj2" fmla="val 50000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16" name="Right Arrow 49">
            <a:extLst>
              <a:ext uri="{FF2B5EF4-FFF2-40B4-BE49-F238E27FC236}">
                <a16:creationId xmlns:a16="http://schemas.microsoft.com/office/drawing/2014/main" id="{769A7362-BA70-407B-905A-C9EAB8CC3782}"/>
              </a:ext>
            </a:extLst>
          </p:cNvPr>
          <p:cNvSpPr/>
          <p:nvPr/>
        </p:nvSpPr>
        <p:spPr>
          <a:xfrm>
            <a:off x="1130763" y="3017433"/>
            <a:ext cx="6894975" cy="1760220"/>
          </a:xfrm>
          <a:prstGeom prst="rightArrow">
            <a:avLst>
              <a:gd name="adj1" fmla="val 66450"/>
              <a:gd name="adj2" fmla="val 50000"/>
            </a:avLst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17" name="Right Arrow 50">
            <a:extLst>
              <a:ext uri="{FF2B5EF4-FFF2-40B4-BE49-F238E27FC236}">
                <a16:creationId xmlns:a16="http://schemas.microsoft.com/office/drawing/2014/main" id="{86FAC06E-87A7-4CF4-B415-CEEA5A6146E4}"/>
              </a:ext>
            </a:extLst>
          </p:cNvPr>
          <p:cNvSpPr/>
          <p:nvPr/>
        </p:nvSpPr>
        <p:spPr>
          <a:xfrm>
            <a:off x="1108146" y="4533813"/>
            <a:ext cx="7925512" cy="1760220"/>
          </a:xfrm>
          <a:prstGeom prst="rightArrow">
            <a:avLst>
              <a:gd name="adj1" fmla="val 66450"/>
              <a:gd name="adj2" fmla="val 50000"/>
            </a:avLst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18" name="Flowchart: Data 9">
            <a:extLst>
              <a:ext uri="{FF2B5EF4-FFF2-40B4-BE49-F238E27FC236}">
                <a16:creationId xmlns:a16="http://schemas.microsoft.com/office/drawing/2014/main" id="{6E311545-E071-4EA4-BA71-D9666AE19C8D}"/>
              </a:ext>
            </a:extLst>
          </p:cNvPr>
          <p:cNvSpPr/>
          <p:nvPr/>
        </p:nvSpPr>
        <p:spPr>
          <a:xfrm>
            <a:off x="2305198" y="1575030"/>
            <a:ext cx="1988820" cy="471360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3050"/>
              <a:gd name="connsiteY0" fmla="*/ 10000 h 10000"/>
              <a:gd name="connsiteX1" fmla="*/ 2000 w 13050"/>
              <a:gd name="connsiteY1" fmla="*/ 0 h 10000"/>
              <a:gd name="connsiteX2" fmla="*/ 13050 w 13050"/>
              <a:gd name="connsiteY2" fmla="*/ 0 h 10000"/>
              <a:gd name="connsiteX3" fmla="*/ 8000 w 13050"/>
              <a:gd name="connsiteY3" fmla="*/ 10000 h 10000"/>
              <a:gd name="connsiteX4" fmla="*/ 0 w 13050"/>
              <a:gd name="connsiteY4" fmla="*/ 10000 h 10000"/>
              <a:gd name="connsiteX0" fmla="*/ 0 w 13050"/>
              <a:gd name="connsiteY0" fmla="*/ 10000 h 10000"/>
              <a:gd name="connsiteX1" fmla="*/ 5300 w 13050"/>
              <a:gd name="connsiteY1" fmla="*/ 0 h 10000"/>
              <a:gd name="connsiteX2" fmla="*/ 13050 w 13050"/>
              <a:gd name="connsiteY2" fmla="*/ 0 h 10000"/>
              <a:gd name="connsiteX3" fmla="*/ 8000 w 13050"/>
              <a:gd name="connsiteY3" fmla="*/ 10000 h 10000"/>
              <a:gd name="connsiteX4" fmla="*/ 0 w 1305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50" h="10000">
                <a:moveTo>
                  <a:pt x="0" y="10000"/>
                </a:moveTo>
                <a:lnTo>
                  <a:pt x="5300" y="0"/>
                </a:lnTo>
                <a:lnTo>
                  <a:pt x="13050" y="0"/>
                </a:lnTo>
                <a:lnTo>
                  <a:pt x="8000" y="10000"/>
                </a:lnTo>
                <a:lnTo>
                  <a:pt x="0" y="10000"/>
                </a:lnTo>
                <a:close/>
              </a:path>
            </a:pathLst>
          </a:custGeom>
          <a:solidFill>
            <a:schemeClr val="bg1">
              <a:alpha val="74902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19" name="Half Frame 18">
            <a:extLst>
              <a:ext uri="{FF2B5EF4-FFF2-40B4-BE49-F238E27FC236}">
                <a16:creationId xmlns:a16="http://schemas.microsoft.com/office/drawing/2014/main" id="{655D345C-CE67-42DE-BF33-9FFBE97B1395}"/>
              </a:ext>
            </a:extLst>
          </p:cNvPr>
          <p:cNvSpPr/>
          <p:nvPr/>
        </p:nvSpPr>
        <p:spPr>
          <a:xfrm rot="8142470">
            <a:off x="3707764" y="1950988"/>
            <a:ext cx="281314" cy="288147"/>
          </a:xfrm>
          <a:prstGeom prst="halfFrame">
            <a:avLst>
              <a:gd name="adj1" fmla="val 26576"/>
              <a:gd name="adj2" fmla="val 25856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endParaRPr lang="en-US" sz="1400">
              <a:solidFill>
                <a:srgbClr val="D8D8D8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4EEC99E-673F-4304-9AE1-DD4EE8CC04AE}"/>
              </a:ext>
            </a:extLst>
          </p:cNvPr>
          <p:cNvSpPr txBox="1"/>
          <p:nvPr/>
        </p:nvSpPr>
        <p:spPr>
          <a:xfrm>
            <a:off x="3091914" y="1742750"/>
            <a:ext cx="756507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>
                <a:solidFill>
                  <a:schemeClr val="bg1">
                    <a:lumMod val="85000"/>
                  </a:schemeClr>
                </a:solidFill>
              </a:rPr>
              <a:t>1</a:t>
            </a:r>
            <a:endParaRPr lang="en-US" sz="8000">
              <a:solidFill>
                <a:schemeClr val="bg1">
                  <a:lumMod val="85000"/>
                </a:schemeClr>
              </a:solidFill>
              <a:cs typeface="Calibri"/>
            </a:endParaRPr>
          </a:p>
        </p:txBody>
      </p:sp>
      <p:sp>
        <p:nvSpPr>
          <p:cNvPr id="21" name="Half Frame 20">
            <a:extLst>
              <a:ext uri="{FF2B5EF4-FFF2-40B4-BE49-F238E27FC236}">
                <a16:creationId xmlns:a16="http://schemas.microsoft.com/office/drawing/2014/main" id="{94C69D26-51F6-4222-BDF0-6A8653973C62}"/>
              </a:ext>
            </a:extLst>
          </p:cNvPr>
          <p:cNvSpPr/>
          <p:nvPr/>
        </p:nvSpPr>
        <p:spPr>
          <a:xfrm rot="8142470">
            <a:off x="3537204" y="3497454"/>
            <a:ext cx="281314" cy="288147"/>
          </a:xfrm>
          <a:prstGeom prst="halfFrame">
            <a:avLst>
              <a:gd name="adj1" fmla="val 26576"/>
              <a:gd name="adj2" fmla="val 25856"/>
            </a:avLst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endParaRPr lang="en-US" sz="1400">
              <a:solidFill>
                <a:schemeClr val="bg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3394C72-5A2F-4377-8FE3-563489CC3BBF}"/>
              </a:ext>
            </a:extLst>
          </p:cNvPr>
          <p:cNvSpPr txBox="1"/>
          <p:nvPr/>
        </p:nvSpPr>
        <p:spPr>
          <a:xfrm>
            <a:off x="2875634" y="3281990"/>
            <a:ext cx="756507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0">
                <a:solidFill>
                  <a:schemeClr val="accent5"/>
                </a:solidFill>
              </a:rPr>
              <a:t>2</a:t>
            </a:r>
          </a:p>
        </p:txBody>
      </p:sp>
      <p:sp>
        <p:nvSpPr>
          <p:cNvPr id="24" name="Half Frame 23">
            <a:extLst>
              <a:ext uri="{FF2B5EF4-FFF2-40B4-BE49-F238E27FC236}">
                <a16:creationId xmlns:a16="http://schemas.microsoft.com/office/drawing/2014/main" id="{ECE105BE-4FC9-48DC-8041-1E9ECF24AEF9}"/>
              </a:ext>
            </a:extLst>
          </p:cNvPr>
          <p:cNvSpPr/>
          <p:nvPr/>
        </p:nvSpPr>
        <p:spPr>
          <a:xfrm rot="8142470">
            <a:off x="3271345" y="4983355"/>
            <a:ext cx="281314" cy="288147"/>
          </a:xfrm>
          <a:prstGeom prst="halfFrame">
            <a:avLst>
              <a:gd name="adj1" fmla="val 26576"/>
              <a:gd name="adj2" fmla="val 25856"/>
            </a:avLst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endParaRPr lang="en-US" sz="1400">
              <a:solidFill>
                <a:schemeClr val="bg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D804EDC-D617-410E-AE23-244EE62554AF}"/>
              </a:ext>
            </a:extLst>
          </p:cNvPr>
          <p:cNvSpPr txBox="1"/>
          <p:nvPr/>
        </p:nvSpPr>
        <p:spPr>
          <a:xfrm>
            <a:off x="2617395" y="4798370"/>
            <a:ext cx="756507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>
                <a:solidFill>
                  <a:srgbClr val="FFC000"/>
                </a:solidFill>
              </a:rPr>
              <a:t>3</a:t>
            </a:r>
            <a:endParaRPr lang="en-US" sz="8000">
              <a:solidFill>
                <a:srgbClr val="FFC000"/>
              </a:solidFill>
              <a:cs typeface="Calibr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F0EF3F9-AC28-4213-B532-64184E3CFEE4}"/>
              </a:ext>
            </a:extLst>
          </p:cNvPr>
          <p:cNvSpPr/>
          <p:nvPr/>
        </p:nvSpPr>
        <p:spPr>
          <a:xfrm>
            <a:off x="4363987" y="2061389"/>
            <a:ext cx="3560128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b="1"/>
              <a:t>Add the distribution of returns to build the simulation-based mod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B14D046-B645-466C-A147-DFBA41799E84}"/>
              </a:ext>
            </a:extLst>
          </p:cNvPr>
          <p:cNvSpPr/>
          <p:nvPr/>
        </p:nvSpPr>
        <p:spPr>
          <a:xfrm>
            <a:off x="4110146" y="3651022"/>
            <a:ext cx="356012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Diversification of fund options to build more scenario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D19DAD4-9F57-49C4-8ABD-B21189B4EAC3}"/>
              </a:ext>
            </a:extLst>
          </p:cNvPr>
          <p:cNvSpPr/>
          <p:nvPr/>
        </p:nvSpPr>
        <p:spPr>
          <a:xfrm>
            <a:off x="3859488" y="5262446"/>
            <a:ext cx="3560128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b="1"/>
              <a:t>Pilot testing of the MVP</a:t>
            </a:r>
            <a:endParaRPr lang="en-US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647624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9856D-595F-1944-BD4C-E0E1354C8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430" y="629268"/>
            <a:ext cx="6586491" cy="1286160"/>
          </a:xfrm>
        </p:spPr>
        <p:txBody>
          <a:bodyPr anchor="b">
            <a:normAutofit/>
          </a:bodyPr>
          <a:lstStyle/>
          <a:p>
            <a:r>
              <a:rPr lang="en-US"/>
              <a:t>Con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0565F38-E337-1A48-A044-6EF1E440D4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32696" y="2443313"/>
            <a:ext cx="6424863" cy="378541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2000"/>
              <a:t>As an investment management company, we provide solutions to clients to invest their money in different financial instruments</a:t>
            </a:r>
            <a:br>
              <a:rPr lang="en-US" sz="2000"/>
            </a:br>
            <a:endParaRPr lang="en-US" sz="2000"/>
          </a:p>
          <a:p>
            <a:pPr marL="0" indent="0">
              <a:buNone/>
            </a:pPr>
            <a:r>
              <a:rPr lang="en-US" sz="2000"/>
              <a:t>AIC has been tasked with developing an analytics-based product that helps determine a truly diversified combination of financial instruments for our clients</a:t>
            </a:r>
            <a:endParaRPr lang="en-US" sz="2000">
              <a:cs typeface="Calibri"/>
            </a:endParaRPr>
          </a:p>
          <a:p>
            <a:endParaRPr lang="en-US" sz="2000"/>
          </a:p>
        </p:txBody>
      </p:sp>
      <p:pic>
        <p:nvPicPr>
          <p:cNvPr id="20" name="Picture 4" descr="Light bulb on yellow background with sketched light beams and cord">
            <a:extLst>
              <a:ext uri="{FF2B5EF4-FFF2-40B4-BE49-F238E27FC236}">
                <a16:creationId xmlns:a16="http://schemas.microsoft.com/office/drawing/2014/main" id="{223EB0E8-E70D-4F10-A980-BBF1F721380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1249" r="7181"/>
          <a:stretch/>
        </p:blipFill>
        <p:spPr>
          <a:xfrm>
            <a:off x="20" y="10"/>
            <a:ext cx="4635571" cy="6857990"/>
          </a:xfrm>
          <a:prstGeom prst="rect">
            <a:avLst/>
          </a:prstGeom>
          <a:effectLst/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7F400EE-A8A5-48AF-B4D6-291B52C6F0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080934" y="2115117"/>
            <a:ext cx="6309360" cy="0"/>
          </a:xfrm>
          <a:prstGeom prst="line">
            <a:avLst/>
          </a:prstGeom>
          <a:ln w="19050">
            <a:solidFill>
              <a:srgbClr val="F5DF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A18376A-741B-6844-B147-E172A5A3E4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4720" y="2542169"/>
            <a:ext cx="736600" cy="7366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8A3A3D5-CD7D-304B-9C98-9FB79441BF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78200" y="3767605"/>
            <a:ext cx="736600" cy="73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8732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038AB439-FEB0-44E9-8E60-37D1EF1D6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1019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038AB439-FEB0-44E9-8E60-37D1EF1D6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170523-38CD-4D8A-B53B-964DA661B0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/>
              <a:t>A paradigm shift in investment portfolio managemen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D3A3843-320D-4ED8-843F-85039A09115A}"/>
              </a:ext>
            </a:extLst>
          </p:cNvPr>
          <p:cNvGrpSpPr/>
          <p:nvPr/>
        </p:nvGrpSpPr>
        <p:grpSpPr>
          <a:xfrm>
            <a:off x="4043537" y="1934991"/>
            <a:ext cx="3814487" cy="3114261"/>
            <a:chOff x="2617508" y="1081802"/>
            <a:chExt cx="3814487" cy="3114261"/>
          </a:xfrm>
        </p:grpSpPr>
        <p:sp>
          <p:nvSpPr>
            <p:cNvPr id="4" name="Quad Arrow Callout 9">
              <a:extLst>
                <a:ext uri="{FF2B5EF4-FFF2-40B4-BE49-F238E27FC236}">
                  <a16:creationId xmlns:a16="http://schemas.microsoft.com/office/drawing/2014/main" id="{12042BF5-FDEF-481C-BA5D-0DFB9FC942F1}"/>
                </a:ext>
              </a:extLst>
            </p:cNvPr>
            <p:cNvSpPr/>
            <p:nvPr/>
          </p:nvSpPr>
          <p:spPr>
            <a:xfrm>
              <a:off x="2617508" y="1081802"/>
              <a:ext cx="3814487" cy="3114261"/>
            </a:xfrm>
            <a:prstGeom prst="quadArrowCallout">
              <a:avLst>
                <a:gd name="adj1" fmla="val 17664"/>
                <a:gd name="adj2" fmla="val 18515"/>
                <a:gd name="adj3" fmla="val 17238"/>
                <a:gd name="adj4" fmla="val 4812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E19E415-0829-45BB-93F7-E33E26FD79C3}"/>
                </a:ext>
              </a:extLst>
            </p:cNvPr>
            <p:cNvSpPr/>
            <p:nvPr/>
          </p:nvSpPr>
          <p:spPr>
            <a:xfrm>
              <a:off x="3194326" y="1081802"/>
              <a:ext cx="2641049" cy="813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2927777-A27E-42AB-92E2-FFF44418EC94}"/>
              </a:ext>
            </a:extLst>
          </p:cNvPr>
          <p:cNvSpPr txBox="1"/>
          <p:nvPr/>
        </p:nvSpPr>
        <p:spPr>
          <a:xfrm>
            <a:off x="5261739" y="3116420"/>
            <a:ext cx="147099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i="1"/>
              <a:t>Key Current Conditions</a:t>
            </a:r>
            <a:endParaRPr lang="en-US" b="1" i="1">
              <a:cs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958FA60-FAAD-43B3-AC7D-BE711C734D6A}"/>
              </a:ext>
            </a:extLst>
          </p:cNvPr>
          <p:cNvSpPr/>
          <p:nvPr/>
        </p:nvSpPr>
        <p:spPr>
          <a:xfrm>
            <a:off x="1033681" y="1690688"/>
            <a:ext cx="3121200" cy="92882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b="1" i="1">
                <a:solidFill>
                  <a:schemeClr val="tx1"/>
                </a:solidFill>
              </a:rPr>
              <a:t>Passive portfolio management is in nascent stage, and the market is fragmented</a:t>
            </a:r>
            <a:endParaRPr lang="en-US" sz="1600" b="1" i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5B72598-EBCE-4E84-93A2-5D5B50202776}"/>
              </a:ext>
            </a:extLst>
          </p:cNvPr>
          <p:cNvSpPr/>
          <p:nvPr/>
        </p:nvSpPr>
        <p:spPr>
          <a:xfrm>
            <a:off x="1033681" y="2647166"/>
            <a:ext cx="31212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sz="1400">
                <a:solidFill>
                  <a:srgbClr val="000000"/>
                </a:solidFill>
              </a:rPr>
              <a:t>Potential for new market entrants to provide analytics-based solutions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33A030-F9C9-44E9-A04B-6CC4C36F4EE5}"/>
              </a:ext>
            </a:extLst>
          </p:cNvPr>
          <p:cNvSpPr/>
          <p:nvPr/>
        </p:nvSpPr>
        <p:spPr>
          <a:xfrm>
            <a:off x="7858024" y="1690688"/>
            <a:ext cx="3121470" cy="92882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CA" sz="1600" b="1" i="1">
                <a:solidFill>
                  <a:schemeClr val="tx1"/>
                </a:solidFill>
              </a:rPr>
              <a:t>Customers with limited knowledge about the financial investing world </a:t>
            </a:r>
            <a:r>
              <a:rPr lang="en-US" sz="1600" b="1" i="1">
                <a:solidFill>
                  <a:schemeClr val="tx1">
                    <a:lumMod val="95000"/>
                    <a:lumOff val="5000"/>
                  </a:schemeClr>
                </a:solidFill>
              </a:rPr>
              <a:t>want to invest 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367D298-8F36-4CF1-A26F-4A585E0AB286}"/>
              </a:ext>
            </a:extLst>
          </p:cNvPr>
          <p:cNvSpPr/>
          <p:nvPr/>
        </p:nvSpPr>
        <p:spPr>
          <a:xfrm>
            <a:off x="7858024" y="2647166"/>
            <a:ext cx="312147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sz="1400">
                <a:solidFill>
                  <a:srgbClr val="000000"/>
                </a:solidFill>
              </a:rPr>
              <a:t>To achieve their financial goals without having to think about what an optimal investment strategy would be according to their risk profile surve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4A79D0-D47D-4CBC-842E-C1B2C24C7BB6}"/>
              </a:ext>
            </a:extLst>
          </p:cNvPr>
          <p:cNvSpPr/>
          <p:nvPr/>
        </p:nvSpPr>
        <p:spPr>
          <a:xfrm>
            <a:off x="1033681" y="4524371"/>
            <a:ext cx="3121200" cy="9288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CA" sz="1600" b="1" i="1">
                <a:solidFill>
                  <a:schemeClr val="tx1"/>
                </a:solidFill>
              </a:rPr>
              <a:t>People with different risk personas </a:t>
            </a:r>
            <a:r>
              <a:rPr lang="en-CA" sz="1600" b="1" i="1">
                <a:solidFill>
                  <a:schemeClr val="tx1">
                    <a:lumMod val="95000"/>
                    <a:lumOff val="5000"/>
                  </a:schemeClr>
                </a:solidFill>
              </a:rPr>
              <a:t>interested in investing in instruments that give the highest returns</a:t>
            </a:r>
            <a:endParaRPr lang="en-US" sz="1600" b="1" i="1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F207E4-84A8-4D23-B813-677EC27D6BD5}"/>
              </a:ext>
            </a:extLst>
          </p:cNvPr>
          <p:cNvSpPr/>
          <p:nvPr/>
        </p:nvSpPr>
        <p:spPr>
          <a:xfrm>
            <a:off x="7858024" y="4510956"/>
            <a:ext cx="3121200" cy="9288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CA" sz="1600" b="1" i="1">
                <a:solidFill>
                  <a:schemeClr val="tx1"/>
                </a:solidFill>
              </a:rPr>
              <a:t>Brick and mortar banks are in decline,</a:t>
            </a:r>
            <a:r>
              <a:rPr lang="en-CA" sz="1600" b="1" i="1">
                <a:solidFill>
                  <a:schemeClr val="tx1">
                    <a:lumMod val="95000"/>
                    <a:lumOff val="5000"/>
                  </a:schemeClr>
                </a:solidFill>
              </a:rPr>
              <a:t> pandemic only exacerbated this trend</a:t>
            </a:r>
            <a:endParaRPr lang="en-US" sz="1600" b="1" i="1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93BA061-F792-43F2-B8A0-FCB0B3F0D044}"/>
              </a:ext>
            </a:extLst>
          </p:cNvPr>
          <p:cNvSpPr/>
          <p:nvPr/>
        </p:nvSpPr>
        <p:spPr>
          <a:xfrm>
            <a:off x="1033681" y="5467434"/>
            <a:ext cx="31212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/>
              <a:t>This can be achieved by investing a single fund or a combination of different funds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7601CC9-8447-47B6-8686-F87A9DB48B29}"/>
              </a:ext>
            </a:extLst>
          </p:cNvPr>
          <p:cNvSpPr/>
          <p:nvPr/>
        </p:nvSpPr>
        <p:spPr>
          <a:xfrm>
            <a:off x="7858024" y="5511154"/>
            <a:ext cx="318366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Additional resource hiring to have a direct impact on other support functions such as HR, Finance, Compliance, Audit, etc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05614A4-5499-493C-8C84-ED3ECBE1195C}"/>
              </a:ext>
            </a:extLst>
          </p:cNvPr>
          <p:cNvSpPr/>
          <p:nvPr/>
        </p:nvSpPr>
        <p:spPr>
          <a:xfrm>
            <a:off x="959790" y="651901"/>
            <a:ext cx="2670101" cy="77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131146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A1CEA33-5AAA-4C14-8579-5E36310D85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067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A1CEA33-5AAA-4C14-8579-5E36310D8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5BD13B-28D3-4104-B36E-4A4B1D4DC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/>
              <a:t>Our typical customer’s profile and need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44" name="Ink 43">
                <a:extLst>
                  <a:ext uri="{FF2B5EF4-FFF2-40B4-BE49-F238E27FC236}">
                    <a16:creationId xmlns:a16="http://schemas.microsoft.com/office/drawing/2014/main" id="{8225FF20-C27D-49D8-96EE-6E9E6762FF5C}"/>
                  </a:ext>
                </a:extLst>
              </p14:cNvPr>
              <p14:cNvContentPartPr/>
              <p14:nvPr/>
            </p14:nvContentPartPr>
            <p14:xfrm>
              <a:off x="3324270" y="6466860"/>
              <a:ext cx="360" cy="360"/>
            </p14:xfrm>
          </p:contentPart>
        </mc:Choice>
        <mc:Fallback>
          <p:pic>
            <p:nvPicPr>
              <p:cNvPr id="44" name="Ink 43">
                <a:extLst>
                  <a:ext uri="{FF2B5EF4-FFF2-40B4-BE49-F238E27FC236}">
                    <a16:creationId xmlns:a16="http://schemas.microsoft.com/office/drawing/2014/main" id="{8225FF20-C27D-49D8-96EE-6E9E6762FF5C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315270" y="6457860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47" name="Ink 46">
                <a:extLst>
                  <a:ext uri="{FF2B5EF4-FFF2-40B4-BE49-F238E27FC236}">
                    <a16:creationId xmlns:a16="http://schemas.microsoft.com/office/drawing/2014/main" id="{7D06A463-9E2F-4B81-A37E-DAA0901859F8}"/>
                  </a:ext>
                </a:extLst>
              </p14:cNvPr>
              <p14:cNvContentPartPr/>
              <p14:nvPr/>
            </p14:nvContentPartPr>
            <p14:xfrm>
              <a:off x="3250731" y="6211240"/>
              <a:ext cx="360" cy="360"/>
            </p14:xfrm>
          </p:contentPart>
        </mc:Choice>
        <mc:Fallback>
          <p:pic>
            <p:nvPicPr>
              <p:cNvPr id="47" name="Ink 46">
                <a:extLst>
                  <a:ext uri="{FF2B5EF4-FFF2-40B4-BE49-F238E27FC236}">
                    <a16:creationId xmlns:a16="http://schemas.microsoft.com/office/drawing/2014/main" id="{7D06A463-9E2F-4B81-A37E-DAA0901859F8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241731" y="6202240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53" name="Rectangle 52">
            <a:extLst>
              <a:ext uri="{FF2B5EF4-FFF2-40B4-BE49-F238E27FC236}">
                <a16:creationId xmlns:a16="http://schemas.microsoft.com/office/drawing/2014/main" id="{E16D4776-7060-45CC-ADC1-83B5A26FB4BE}"/>
              </a:ext>
            </a:extLst>
          </p:cNvPr>
          <p:cNvSpPr/>
          <p:nvPr/>
        </p:nvSpPr>
        <p:spPr>
          <a:xfrm>
            <a:off x="1714084" y="4008434"/>
            <a:ext cx="1482089" cy="731520"/>
          </a:xfrm>
          <a:prstGeom prst="rect">
            <a:avLst/>
          </a:prstGeom>
          <a:solidFill>
            <a:srgbClr val="98C6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Risk Seeking – High risk tolerance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88234938-CEC3-47AD-8E3E-8251F109D6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13899" y="2666489"/>
            <a:ext cx="1082454" cy="108245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E86C832E-5BC8-445E-9F56-0A5078E7991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16852" y="2631343"/>
            <a:ext cx="1112514" cy="1112514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9A3BB04C-4B41-2C40-B37B-7DA443CAEC9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38698" y="2631343"/>
            <a:ext cx="1082454" cy="1082454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9040C29D-6280-416D-8020-92C3C5411966}"/>
              </a:ext>
            </a:extLst>
          </p:cNvPr>
          <p:cNvSpPr/>
          <p:nvPr/>
        </p:nvSpPr>
        <p:spPr>
          <a:xfrm>
            <a:off x="5532064" y="4008434"/>
            <a:ext cx="1482089" cy="731520"/>
          </a:xfrm>
          <a:prstGeom prst="rect">
            <a:avLst/>
          </a:prstGeom>
          <a:solidFill>
            <a:srgbClr val="98C6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CA" sz="1400" b="1">
                <a:solidFill>
                  <a:srgbClr val="000000"/>
                </a:solidFill>
              </a:rPr>
              <a:t>Risk Neutral – Moderate to low risk toleranc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DBCE434-AB13-41F6-A866-C63EA3F655E5}"/>
              </a:ext>
            </a:extLst>
          </p:cNvPr>
          <p:cNvSpPr/>
          <p:nvPr/>
        </p:nvSpPr>
        <p:spPr>
          <a:xfrm>
            <a:off x="8838880" y="4008434"/>
            <a:ext cx="1482089" cy="731520"/>
          </a:xfrm>
          <a:prstGeom prst="rect">
            <a:avLst/>
          </a:prstGeom>
          <a:solidFill>
            <a:srgbClr val="98C6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Risk Averse – No risk toleranc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4A94FB8-DF36-42A9-8080-CE08A202FF6B}"/>
              </a:ext>
            </a:extLst>
          </p:cNvPr>
          <p:cNvSpPr/>
          <p:nvPr/>
        </p:nvSpPr>
        <p:spPr>
          <a:xfrm>
            <a:off x="1714084" y="4865519"/>
            <a:ext cx="1482089" cy="7315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en-CA" sz="1400" i="1">
                <a:solidFill>
                  <a:srgbClr val="000000"/>
                </a:solidFill>
              </a:rPr>
              <a:t>Open to accept a negative return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8573706-6DEF-4097-9BF3-BBA83E0B1ED7}"/>
              </a:ext>
            </a:extLst>
          </p:cNvPr>
          <p:cNvSpPr/>
          <p:nvPr/>
        </p:nvSpPr>
        <p:spPr>
          <a:xfrm>
            <a:off x="5532064" y="4865519"/>
            <a:ext cx="1482089" cy="7315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en-CA" sz="1400" i="1">
                <a:solidFill>
                  <a:srgbClr val="000000"/>
                </a:solidFill>
                <a:cs typeface="Calibri"/>
              </a:rPr>
              <a:t>Open to have a minimum return as 0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0D5BCFA-82B9-4F06-933B-523F8BF94CCE}"/>
              </a:ext>
            </a:extLst>
          </p:cNvPr>
          <p:cNvSpPr/>
          <p:nvPr/>
        </p:nvSpPr>
        <p:spPr>
          <a:xfrm>
            <a:off x="8838880" y="4865519"/>
            <a:ext cx="1482089" cy="7315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en-CA" sz="1400" i="1">
                <a:solidFill>
                  <a:srgbClr val="000000"/>
                </a:solidFill>
              </a:rPr>
              <a:t>Unwilling to accept a negative return</a:t>
            </a:r>
            <a:endParaRPr lang="en-CA" sz="1400" i="1">
              <a:solidFill>
                <a:srgbClr val="000000"/>
              </a:solidFill>
              <a:cs typeface="Calibri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EE5E8D-FA46-4EF8-9D41-1BB925DA5635}"/>
              </a:ext>
            </a:extLst>
          </p:cNvPr>
          <p:cNvSpPr/>
          <p:nvPr/>
        </p:nvSpPr>
        <p:spPr>
          <a:xfrm>
            <a:off x="844649" y="1649797"/>
            <a:ext cx="10515600" cy="7078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2000"/>
              <a:t>Based on the personalized survey, we get the following profiles that identify each customer’s risk appetite  </a:t>
            </a:r>
            <a:endParaRPr lang="en-CA" sz="20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D95F85-EAC0-46D5-BB19-9B17186EFDDF}"/>
              </a:ext>
            </a:extLst>
          </p:cNvPr>
          <p:cNvSpPr/>
          <p:nvPr/>
        </p:nvSpPr>
        <p:spPr>
          <a:xfrm>
            <a:off x="838200" y="5696654"/>
            <a:ext cx="10515599" cy="923330"/>
          </a:xfrm>
          <a:prstGeom prst="rect">
            <a:avLst/>
          </a:prstGeom>
          <a:solidFill>
            <a:srgbClr val="00B050"/>
          </a:solidFill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Post-survey: we identify clients' goals and investment horiz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>
                <a:solidFill>
                  <a:schemeClr val="bg1"/>
                </a:solidFill>
              </a:rPr>
              <a:t>As per each customer's risk profile, we find the maximum optimal expected returns and suitable mutual funds</a:t>
            </a:r>
            <a:endParaRPr lang="en-CA">
              <a:solidFill>
                <a:schemeClr val="bg1"/>
              </a:solidFill>
              <a:cs typeface="Calibri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FE1C1D1-F64E-4BF2-9279-C2B2846D74AE}"/>
              </a:ext>
            </a:extLst>
          </p:cNvPr>
          <p:cNvSpPr/>
          <p:nvPr/>
        </p:nvSpPr>
        <p:spPr>
          <a:xfrm>
            <a:off x="959790" y="651901"/>
            <a:ext cx="2670101" cy="77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305492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92A7AC87-3410-4055-866E-6AD2A67511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644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92A7AC87-3410-4055-866E-6AD2A6751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A625AD-735D-47C0-91A1-2B3C21EAA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/>
              <a:t>Asset Allocation Model Approach (1/2)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10BB6A3-88F2-4826-914A-D590A1E29966}"/>
              </a:ext>
            </a:extLst>
          </p:cNvPr>
          <p:cNvGrpSpPr/>
          <p:nvPr/>
        </p:nvGrpSpPr>
        <p:grpSpPr>
          <a:xfrm>
            <a:off x="959790" y="1935003"/>
            <a:ext cx="9987608" cy="2184571"/>
            <a:chOff x="646562" y="3953436"/>
            <a:chExt cx="8300763" cy="1325364"/>
          </a:xfrm>
        </p:grpSpPr>
        <p:sp>
          <p:nvSpPr>
            <p:cNvPr id="4" name="AutoShape 99">
              <a:extLst>
                <a:ext uri="{FF2B5EF4-FFF2-40B4-BE49-F238E27FC236}">
                  <a16:creationId xmlns:a16="http://schemas.microsoft.com/office/drawing/2014/main" id="{C8F71EB8-AD0D-4348-90A1-BE6ACF466C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562" y="3953436"/>
              <a:ext cx="1645920" cy="365760"/>
            </a:xfrm>
            <a:prstGeom prst="chevron">
              <a:avLst>
                <a:gd name="adj" fmla="val 20252"/>
              </a:avLst>
            </a:prstGeom>
            <a:solidFill>
              <a:srgbClr val="00338D">
                <a:lumMod val="20000"/>
                <a:lumOff val="80000"/>
              </a:srgbClr>
            </a:solidFill>
            <a:ln w="3175">
              <a:noFill/>
              <a:miter lim="800000"/>
              <a:headEnd/>
              <a:tailEnd/>
            </a:ln>
          </p:spPr>
          <p:txBody>
            <a:bodyPr lIns="33231" rIns="0" anchor="ctr"/>
            <a:lstStyle/>
            <a:p>
              <a:pPr algn="ctr"/>
              <a:r>
                <a:rPr lang="en-CA" sz="1600" b="1"/>
                <a:t>Inputs</a:t>
              </a:r>
            </a:p>
          </p:txBody>
        </p:sp>
        <p:sp>
          <p:nvSpPr>
            <p:cNvPr id="5" name="AutoShape 100">
              <a:extLst>
                <a:ext uri="{FF2B5EF4-FFF2-40B4-BE49-F238E27FC236}">
                  <a16:creationId xmlns:a16="http://schemas.microsoft.com/office/drawing/2014/main" id="{B62D0B95-944F-49E9-BE19-D97B855CA6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0306" y="3953436"/>
              <a:ext cx="1645920" cy="365760"/>
            </a:xfrm>
            <a:prstGeom prst="chevron">
              <a:avLst>
                <a:gd name="adj" fmla="val 20500"/>
              </a:avLst>
            </a:prstGeom>
            <a:solidFill>
              <a:srgbClr val="00338D">
                <a:lumMod val="20000"/>
                <a:lumOff val="80000"/>
              </a:srgbClr>
            </a:solidFill>
            <a:ln w="3175">
              <a:noFill/>
              <a:miter lim="800000"/>
              <a:headEnd/>
              <a:tailEnd/>
            </a:ln>
          </p:spPr>
          <p:txBody>
            <a:bodyPr lIns="33231" rIns="0" anchor="ctr"/>
            <a:lstStyle/>
            <a:p>
              <a:pPr algn="ctr"/>
              <a:r>
                <a:rPr lang="en-CA" sz="1600" b="1"/>
                <a:t>Definition</a:t>
              </a:r>
            </a:p>
          </p:txBody>
        </p:sp>
        <p:sp>
          <p:nvSpPr>
            <p:cNvPr id="6" name="AutoShape 105">
              <a:extLst>
                <a:ext uri="{FF2B5EF4-FFF2-40B4-BE49-F238E27FC236}">
                  <a16:creationId xmlns:a16="http://schemas.microsoft.com/office/drawing/2014/main" id="{72CB0455-9821-411A-81C2-3F548A504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4050" y="3953436"/>
              <a:ext cx="1645920" cy="365760"/>
            </a:xfrm>
            <a:prstGeom prst="chevron">
              <a:avLst>
                <a:gd name="adj" fmla="val 20479"/>
              </a:avLst>
            </a:prstGeom>
            <a:solidFill>
              <a:srgbClr val="00338D">
                <a:lumMod val="20000"/>
                <a:lumOff val="80000"/>
              </a:srgbClr>
            </a:solidFill>
            <a:ln w="3175">
              <a:noFill/>
              <a:miter lim="800000"/>
              <a:headEnd/>
              <a:tailEnd/>
            </a:ln>
          </p:spPr>
          <p:txBody>
            <a:bodyPr lIns="33231" rIns="0" anchor="ctr"/>
            <a:lstStyle/>
            <a:p>
              <a:pPr algn="ctr"/>
              <a:r>
                <a:rPr lang="en-CA" sz="1600" b="1"/>
                <a:t>Scenario</a:t>
              </a:r>
            </a:p>
          </p:txBody>
        </p:sp>
        <p:sp>
          <p:nvSpPr>
            <p:cNvPr id="7" name="AutoShape 108">
              <a:extLst>
                <a:ext uri="{FF2B5EF4-FFF2-40B4-BE49-F238E27FC236}">
                  <a16:creationId xmlns:a16="http://schemas.microsoft.com/office/drawing/2014/main" id="{D024EE30-8D36-4A05-B036-F8F3376CF5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7794" y="3953436"/>
              <a:ext cx="1542196" cy="365760"/>
            </a:xfrm>
            <a:prstGeom prst="chevron">
              <a:avLst>
                <a:gd name="adj" fmla="val 20479"/>
              </a:avLst>
            </a:prstGeom>
            <a:solidFill>
              <a:srgbClr val="00338D">
                <a:lumMod val="20000"/>
                <a:lumOff val="80000"/>
              </a:srgbClr>
            </a:solidFill>
            <a:ln w="3175">
              <a:noFill/>
              <a:miter lim="800000"/>
              <a:headEnd/>
              <a:tailEnd/>
            </a:ln>
          </p:spPr>
          <p:txBody>
            <a:bodyPr lIns="33231" rIns="0" anchor="ctr"/>
            <a:lstStyle/>
            <a:p>
              <a:pPr marL="161196" algn="ctr" eaLnBrk="0" hangingPunct="0">
                <a:lnSpc>
                  <a:spcPct val="90000"/>
                </a:lnSpc>
                <a:defRPr/>
              </a:pPr>
              <a:endParaRPr lang="en-US" sz="1600" b="1" kern="0">
                <a:solidFill>
                  <a:srgbClr val="000000"/>
                </a:solidFill>
              </a:endParaRPr>
            </a:p>
          </p:txBody>
        </p:sp>
        <p:sp>
          <p:nvSpPr>
            <p:cNvPr id="8" name="AutoShape 108">
              <a:extLst>
                <a:ext uri="{FF2B5EF4-FFF2-40B4-BE49-F238E27FC236}">
                  <a16:creationId xmlns:a16="http://schemas.microsoft.com/office/drawing/2014/main" id="{274AE32F-B60E-4322-8665-7566CA987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9479" y="3953436"/>
              <a:ext cx="1677846" cy="365760"/>
            </a:xfrm>
            <a:prstGeom prst="chevron">
              <a:avLst>
                <a:gd name="adj" fmla="val 20479"/>
              </a:avLst>
            </a:prstGeom>
            <a:solidFill>
              <a:srgbClr val="00338D">
                <a:lumMod val="20000"/>
                <a:lumOff val="80000"/>
              </a:srgbClr>
            </a:solidFill>
            <a:ln w="3175">
              <a:noFill/>
              <a:miter lim="800000"/>
              <a:headEnd/>
              <a:tailEnd/>
            </a:ln>
          </p:spPr>
          <p:txBody>
            <a:bodyPr lIns="33231" rIns="0" anchor="ctr"/>
            <a:lstStyle/>
            <a:p>
              <a:pPr marL="161196" algn="ctr" eaLnBrk="0" hangingPunct="0">
                <a:lnSpc>
                  <a:spcPct val="90000"/>
                </a:lnSpc>
                <a:defRPr/>
              </a:pPr>
              <a:r>
                <a:rPr lang="en-US" sz="1600" b="1" kern="0">
                  <a:solidFill>
                    <a:srgbClr val="000000"/>
                  </a:solidFill>
                </a:rPr>
                <a:t>Result / Outcome</a:t>
              </a:r>
            </a:p>
          </p:txBody>
        </p:sp>
        <p:sp>
          <p:nvSpPr>
            <p:cNvPr id="9" name="Text Box 103">
              <a:extLst>
                <a:ext uri="{FF2B5EF4-FFF2-40B4-BE49-F238E27FC236}">
                  <a16:creationId xmlns:a16="http://schemas.microsoft.com/office/drawing/2014/main" id="{0F707817-3D7C-4331-921F-12A391D92C3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6562" y="4377536"/>
              <a:ext cx="1683744" cy="9012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t">
              <a:spAutoFit/>
            </a:bodyPr>
            <a:lstStyle/>
            <a:p>
              <a:pPr marL="102235" indent="-102235" eaLnBrk="0" hangingPunct="0">
                <a:lnSpc>
                  <a:spcPct val="90000"/>
                </a:lnSpc>
                <a:spcAft>
                  <a:spcPts val="500"/>
                </a:spcAft>
                <a:buClr>
                  <a:srgbClr val="747678"/>
                </a:buClr>
                <a:buFontTx/>
                <a:buChar char="•"/>
              </a:pPr>
              <a:r>
                <a:rPr lang="en-CA" sz="1400">
                  <a:solidFill>
                    <a:srgbClr val="000000"/>
                  </a:solidFill>
                  <a:cs typeface="Calibri"/>
                </a:rPr>
                <a:t>Historical returns for past 5 standalone years</a:t>
              </a:r>
              <a:endParaRPr lang="en-US">
                <a:cs typeface="Calibri"/>
              </a:endParaRPr>
            </a:p>
            <a:p>
              <a:pPr marL="102235" indent="-102235" eaLnBrk="0" hangingPunct="0">
                <a:lnSpc>
                  <a:spcPct val="90000"/>
                </a:lnSpc>
                <a:spcAft>
                  <a:spcPts val="500"/>
                </a:spcAft>
                <a:buClr>
                  <a:srgbClr val="747678"/>
                </a:buClr>
                <a:buFontTx/>
                <a:buChar char="•"/>
              </a:pPr>
              <a:r>
                <a:rPr lang="en-CA" sz="1400">
                  <a:solidFill>
                    <a:srgbClr val="000000"/>
                  </a:solidFill>
                  <a:cs typeface="Calibri"/>
                </a:rPr>
                <a:t>Minimum return that the customer is expecting</a:t>
              </a:r>
            </a:p>
            <a:p>
              <a:pPr marL="102235" indent="-102235" eaLnBrk="0" hangingPunct="0">
                <a:lnSpc>
                  <a:spcPct val="90000"/>
                </a:lnSpc>
                <a:spcAft>
                  <a:spcPts val="500"/>
                </a:spcAft>
                <a:buClr>
                  <a:srgbClr val="747678"/>
                </a:buClr>
                <a:buFontTx/>
                <a:buChar char="•"/>
              </a:pPr>
              <a:r>
                <a:rPr lang="en-CA" sz="1400">
                  <a:solidFill>
                    <a:srgbClr val="000000"/>
                  </a:solidFill>
                  <a:cs typeface="Calibri"/>
                </a:rPr>
                <a:t>Probabilities of each of the potential returns for years 1 to 5</a:t>
              </a:r>
              <a:endParaRPr lang="en-US" sz="1400">
                <a:solidFill>
                  <a:srgbClr val="000000"/>
                </a:solidFill>
                <a:cs typeface="Calibri"/>
              </a:endParaRPr>
            </a:p>
          </p:txBody>
        </p:sp>
        <p:sp>
          <p:nvSpPr>
            <p:cNvPr id="10" name="Text Box 104">
              <a:extLst>
                <a:ext uri="{FF2B5EF4-FFF2-40B4-BE49-F238E27FC236}">
                  <a16:creationId xmlns:a16="http://schemas.microsoft.com/office/drawing/2014/main" id="{677275E8-2BF6-4E4D-A304-F243FC1666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05302" y="4377537"/>
              <a:ext cx="1425758" cy="3918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>
              <a:spAutoFit/>
            </a:bodyPr>
            <a:lstStyle/>
            <a:p>
              <a:pPr marL="102235" indent="-102235" eaLnBrk="0" hangingPunct="0">
                <a:lnSpc>
                  <a:spcPct val="90000"/>
                </a:lnSpc>
                <a:spcAft>
                  <a:spcPts val="500"/>
                </a:spcAft>
                <a:buClr>
                  <a:srgbClr val="747678"/>
                </a:buClr>
                <a:buFontTx/>
                <a:buChar char="•"/>
              </a:pPr>
              <a:r>
                <a:rPr lang="en-CA" sz="1400">
                  <a:solidFill>
                    <a:srgbClr val="000000"/>
                  </a:solidFill>
                  <a:cs typeface="Calibri"/>
                </a:rPr>
                <a:t>Creating scenarios using historic data</a:t>
              </a:r>
              <a:endParaRPr lang="en-US">
                <a:cs typeface="Calibri"/>
              </a:endParaRPr>
            </a:p>
            <a:p>
              <a:pPr marL="102235" indent="-102235" eaLnBrk="0" hangingPunct="0">
                <a:lnSpc>
                  <a:spcPct val="90000"/>
                </a:lnSpc>
                <a:spcAft>
                  <a:spcPts val="500"/>
                </a:spcAft>
                <a:buClr>
                  <a:srgbClr val="747678"/>
                </a:buClr>
                <a:buFontTx/>
                <a:buChar char="•"/>
              </a:pPr>
              <a:r>
                <a:rPr lang="en-CA" sz="1400">
                  <a:solidFill>
                    <a:srgbClr val="000000"/>
                  </a:solidFill>
                  <a:cs typeface="Calibri"/>
                </a:rPr>
                <a:t>Percentage return</a:t>
              </a:r>
            </a:p>
          </p:txBody>
        </p:sp>
        <p:sp>
          <p:nvSpPr>
            <p:cNvPr id="11" name="Text Box 110">
              <a:extLst>
                <a:ext uri="{FF2B5EF4-FFF2-40B4-BE49-F238E27FC236}">
                  <a16:creationId xmlns:a16="http://schemas.microsoft.com/office/drawing/2014/main" id="{92EDE873-5715-4D35-B424-516F08DECAC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14050" y="4377536"/>
              <a:ext cx="1551620" cy="6270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>
              <a:spAutoFit/>
            </a:bodyPr>
            <a:lstStyle/>
            <a:p>
              <a:pPr marL="102235" indent="-102235" eaLnBrk="0" hangingPunct="0">
                <a:lnSpc>
                  <a:spcPct val="90000"/>
                </a:lnSpc>
                <a:spcAft>
                  <a:spcPts val="500"/>
                </a:spcAft>
                <a:buClr>
                  <a:srgbClr val="747678"/>
                </a:buClr>
                <a:buFontTx/>
                <a:buChar char="•"/>
              </a:pPr>
              <a:r>
                <a:rPr lang="en-US" sz="1400">
                  <a:solidFill>
                    <a:srgbClr val="000000"/>
                  </a:solidFill>
                  <a:cs typeface="Calibri"/>
                </a:rPr>
                <a:t>Data on the returns for the five 1-year periods for 5 types of mutual funds</a:t>
              </a:r>
              <a:endParaRPr lang="en-US">
                <a:cs typeface="Calibri"/>
              </a:endParaRPr>
            </a:p>
            <a:p>
              <a:pPr marL="102235" indent="-102235" eaLnBrk="0" hangingPunct="0">
                <a:lnSpc>
                  <a:spcPct val="90000"/>
                </a:lnSpc>
                <a:spcAft>
                  <a:spcPts val="500"/>
                </a:spcAft>
                <a:buClr>
                  <a:srgbClr val="747678"/>
                </a:buClr>
                <a:buFontTx/>
                <a:buChar char="•"/>
              </a:pPr>
              <a:endParaRPr lang="en-US" sz="140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12" name="Text Box 110">
              <a:extLst>
                <a:ext uri="{FF2B5EF4-FFF2-40B4-BE49-F238E27FC236}">
                  <a16:creationId xmlns:a16="http://schemas.microsoft.com/office/drawing/2014/main" id="{36C16C93-9611-4F14-A12F-4D5089C08A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97793" y="4377537"/>
              <a:ext cx="1542196" cy="35291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02579" indent="-102579" eaLnBrk="0" hangingPunct="0">
                <a:lnSpc>
                  <a:spcPct val="90000"/>
                </a:lnSpc>
                <a:spcAft>
                  <a:spcPts val="500"/>
                </a:spcAft>
                <a:buClr>
                  <a:srgbClr val="747678"/>
                </a:buClr>
                <a:buFontTx/>
                <a:buChar char="•"/>
              </a:pPr>
              <a:r>
                <a:rPr lang="en-US" sz="1400">
                  <a:solidFill>
                    <a:srgbClr val="000000"/>
                  </a:solidFill>
                  <a:cs typeface="Calibri" pitchFamily="34" charset="0"/>
                </a:rPr>
                <a:t>Provide the appropriate constraints to optimize the model</a:t>
              </a:r>
            </a:p>
          </p:txBody>
        </p:sp>
        <p:sp>
          <p:nvSpPr>
            <p:cNvPr id="13" name="Text Box 110">
              <a:extLst>
                <a:ext uri="{FF2B5EF4-FFF2-40B4-BE49-F238E27FC236}">
                  <a16:creationId xmlns:a16="http://schemas.microsoft.com/office/drawing/2014/main" id="{5CB80ADE-4D2F-4EF6-9AF5-2F506D6F63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69479" y="4377537"/>
              <a:ext cx="1677845" cy="23527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>
              <a:spAutoFit/>
            </a:bodyPr>
            <a:lstStyle/>
            <a:p>
              <a:pPr marL="102235" indent="-102235" eaLnBrk="0" hangingPunct="0">
                <a:lnSpc>
                  <a:spcPct val="90000"/>
                </a:lnSpc>
                <a:spcAft>
                  <a:spcPts val="500"/>
                </a:spcAft>
                <a:buClr>
                  <a:srgbClr val="747678"/>
                </a:buClr>
                <a:buFontTx/>
                <a:buChar char="•"/>
              </a:pPr>
              <a:r>
                <a:rPr lang="en-US" sz="1400">
                  <a:solidFill>
                    <a:srgbClr val="000000"/>
                  </a:solidFill>
                  <a:cs typeface="Calibri"/>
                </a:rPr>
                <a:t>Analysis of the proportion to invest</a:t>
              </a:r>
              <a:endParaRPr lang="en-US">
                <a:cs typeface="Calibri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AA0CE0E1-AE91-466F-ADE2-F41C10B3D9BD}"/>
              </a:ext>
            </a:extLst>
          </p:cNvPr>
          <p:cNvSpPr/>
          <p:nvPr/>
        </p:nvSpPr>
        <p:spPr bwMode="auto">
          <a:xfrm>
            <a:off x="980256" y="1500288"/>
            <a:ext cx="2296344" cy="338554"/>
          </a:xfrm>
          <a:prstGeom prst="rect">
            <a:avLst/>
          </a:prstGeom>
          <a:solidFill>
            <a:srgbClr val="F0C94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rgbClr val="000000"/>
                </a:solidFill>
              </a:rPr>
              <a:t>Asset Allocation Mod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D96A21C-A84B-40F3-8495-34773DF73D11}"/>
              </a:ext>
            </a:extLst>
          </p:cNvPr>
          <p:cNvSpPr/>
          <p:nvPr/>
        </p:nvSpPr>
        <p:spPr>
          <a:xfrm>
            <a:off x="959790" y="651901"/>
            <a:ext cx="2670101" cy="77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18D1454-A222-47E7-8CA5-80CCF9BAF387}"/>
              </a:ext>
            </a:extLst>
          </p:cNvPr>
          <p:cNvSpPr/>
          <p:nvPr/>
        </p:nvSpPr>
        <p:spPr>
          <a:xfrm>
            <a:off x="7389574" y="2070111"/>
            <a:ext cx="10640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sz="1600" b="1"/>
              <a:t>Constraint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FF3EFBED-1903-CD47-B258-C63FCAD27E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9104063"/>
              </p:ext>
            </p:extLst>
          </p:nvPr>
        </p:nvGraphicFramePr>
        <p:xfrm>
          <a:off x="927098" y="4811063"/>
          <a:ext cx="10020304" cy="1391285"/>
        </p:xfrm>
        <a:graphic>
          <a:graphicData uri="http://schemas.openxmlformats.org/drawingml/2006/table">
            <a:tbl>
              <a:tblPr>
                <a:tableStyleId>{1E171933-4619-4E11-9A3F-F7608DF75F80}</a:tableStyleId>
              </a:tblPr>
              <a:tblGrid>
                <a:gridCol w="1934711">
                  <a:extLst>
                    <a:ext uri="{9D8B030D-6E8A-4147-A177-3AD203B41FA5}">
                      <a16:colId xmlns:a16="http://schemas.microsoft.com/office/drawing/2014/main" val="2361794844"/>
                    </a:ext>
                  </a:extLst>
                </a:gridCol>
                <a:gridCol w="397439">
                  <a:extLst>
                    <a:ext uri="{9D8B030D-6E8A-4147-A177-3AD203B41FA5}">
                      <a16:colId xmlns:a16="http://schemas.microsoft.com/office/drawing/2014/main" val="3246752669"/>
                    </a:ext>
                  </a:extLst>
                </a:gridCol>
                <a:gridCol w="1281359">
                  <a:extLst>
                    <a:ext uri="{9D8B030D-6E8A-4147-A177-3AD203B41FA5}">
                      <a16:colId xmlns:a16="http://schemas.microsoft.com/office/drawing/2014/main" val="2594699829"/>
                    </a:ext>
                  </a:extLst>
                </a:gridCol>
                <a:gridCol w="1281359">
                  <a:extLst>
                    <a:ext uri="{9D8B030D-6E8A-4147-A177-3AD203B41FA5}">
                      <a16:colId xmlns:a16="http://schemas.microsoft.com/office/drawing/2014/main" val="604926465"/>
                    </a:ext>
                  </a:extLst>
                </a:gridCol>
                <a:gridCol w="1281359">
                  <a:extLst>
                    <a:ext uri="{9D8B030D-6E8A-4147-A177-3AD203B41FA5}">
                      <a16:colId xmlns:a16="http://schemas.microsoft.com/office/drawing/2014/main" val="1185910066"/>
                    </a:ext>
                  </a:extLst>
                </a:gridCol>
                <a:gridCol w="1281359">
                  <a:extLst>
                    <a:ext uri="{9D8B030D-6E8A-4147-A177-3AD203B41FA5}">
                      <a16:colId xmlns:a16="http://schemas.microsoft.com/office/drawing/2014/main" val="3501737909"/>
                    </a:ext>
                  </a:extLst>
                </a:gridCol>
                <a:gridCol w="1281359">
                  <a:extLst>
                    <a:ext uri="{9D8B030D-6E8A-4147-A177-3AD203B41FA5}">
                      <a16:colId xmlns:a16="http://schemas.microsoft.com/office/drawing/2014/main" val="2660979794"/>
                    </a:ext>
                  </a:extLst>
                </a:gridCol>
                <a:gridCol w="1281359">
                  <a:extLst>
                    <a:ext uri="{9D8B030D-6E8A-4147-A177-3AD203B41FA5}">
                      <a16:colId xmlns:a16="http://schemas.microsoft.com/office/drawing/2014/main" val="4046189148"/>
                    </a:ext>
                  </a:extLst>
                </a:gridCol>
              </a:tblGrid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Year/Mutual Fund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#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solidFill>
                            <a:srgbClr val="FF0000"/>
                          </a:solidFill>
                          <a:effectLst/>
                        </a:rPr>
                        <a:t>Probabilities</a:t>
                      </a:r>
                      <a:endParaRPr lang="en-IN" sz="1200" b="1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Large Cap Equities (LCE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Mid Cap Equities (MCE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Balanced Equities (BE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Fixed Income (FI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u="none" strike="noStrike">
                          <a:effectLst/>
                        </a:rPr>
                        <a:t>Balanced Funds (BF)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70410736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Scenario 1 / Year 1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S1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FF0000"/>
                          </a:solidFill>
                          <a:effectLst/>
                        </a:rPr>
                        <a:t>0.20</a:t>
                      </a:r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18.9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31.6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35.2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7.6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13.1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9134120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u="none" strike="noStrike">
                          <a:effectLst/>
                        </a:rPr>
                        <a:t>Scenario 2 / Year 2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u="none" strike="noStrike">
                          <a:effectLst/>
                        </a:rPr>
                        <a:t>S2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FF0000"/>
                          </a:solidFill>
                          <a:effectLst/>
                        </a:rPr>
                        <a:t>0.35</a:t>
                      </a:r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38.2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25.2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21.9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12.6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8.5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40698245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u="none" strike="noStrike">
                          <a:effectLst/>
                        </a:rPr>
                        <a:t>Scenario 3 / Year 3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u="none" strike="noStrike">
                          <a:effectLst/>
                        </a:rPr>
                        <a:t>S3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FF0000"/>
                          </a:solidFill>
                          <a:effectLst/>
                        </a:rPr>
                        <a:t>0.15</a:t>
                      </a:r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14.6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30.1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30.8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4.8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2.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295630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u="none" strike="noStrike">
                          <a:effectLst/>
                        </a:rPr>
                        <a:t>Scenario 4 / Year 4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u="none" strike="noStrike">
                          <a:effectLst/>
                        </a:rPr>
                        <a:t>S4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FF0000"/>
                          </a:solidFill>
                          <a:effectLst/>
                        </a:rPr>
                        <a:t>0.20</a:t>
                      </a:r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24.8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14.7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6.6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3.1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9.9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5466995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u="none" strike="noStrike">
                          <a:effectLst/>
                        </a:rPr>
                        <a:t>Scenario 5 / Year 5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u="none" strike="noStrike">
                          <a:effectLst/>
                        </a:rPr>
                        <a:t>S5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FF0000"/>
                          </a:solidFill>
                          <a:effectLst/>
                        </a:rPr>
                        <a:t>0.10</a:t>
                      </a:r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0.9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4.8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8.1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9.1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</a:rPr>
                        <a:t>-3.4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67448249"/>
                  </a:ext>
                </a:extLst>
              </a:tr>
            </a:tbl>
          </a:graphicData>
        </a:graphic>
      </p:graphicFrame>
      <p:sp>
        <p:nvSpPr>
          <p:cNvPr id="39" name="Rectangle 38">
            <a:extLst>
              <a:ext uri="{FF2B5EF4-FFF2-40B4-BE49-F238E27FC236}">
                <a16:creationId xmlns:a16="http://schemas.microsoft.com/office/drawing/2014/main" id="{501A4302-D292-43F4-8E86-34315A5D7F51}"/>
              </a:ext>
            </a:extLst>
          </p:cNvPr>
          <p:cNvSpPr/>
          <p:nvPr/>
        </p:nvSpPr>
        <p:spPr>
          <a:xfrm>
            <a:off x="9707956" y="6195544"/>
            <a:ext cx="123944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sz="1000" i="1">
                <a:solidFill>
                  <a:srgbClr val="000000"/>
                </a:solidFill>
                <a:cs typeface="Calibri" pitchFamily="34" charset="0"/>
              </a:rPr>
              <a:t>All numbers are in %</a:t>
            </a:r>
            <a:endParaRPr lang="en-CA" sz="1000" i="1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77FA176-043F-4F32-8EE8-B5F3A5187609}"/>
              </a:ext>
            </a:extLst>
          </p:cNvPr>
          <p:cNvSpPr/>
          <p:nvPr/>
        </p:nvSpPr>
        <p:spPr>
          <a:xfrm>
            <a:off x="6177007" y="4441731"/>
            <a:ext cx="4770392" cy="33855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CA" sz="1600" b="1"/>
              <a:t>Scenarios for the next 5 years for the 1-year periods</a:t>
            </a:r>
          </a:p>
        </p:txBody>
      </p:sp>
      <p:sp>
        <p:nvSpPr>
          <p:cNvPr id="45" name="Arrow: Down 44">
            <a:extLst>
              <a:ext uri="{FF2B5EF4-FFF2-40B4-BE49-F238E27FC236}">
                <a16:creationId xmlns:a16="http://schemas.microsoft.com/office/drawing/2014/main" id="{B3D8A197-910E-4517-B67A-FC775246E9D2}"/>
              </a:ext>
            </a:extLst>
          </p:cNvPr>
          <p:cNvSpPr/>
          <p:nvPr/>
        </p:nvSpPr>
        <p:spPr>
          <a:xfrm>
            <a:off x="1713130" y="4245138"/>
            <a:ext cx="571500" cy="460162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900599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92A7AC87-3410-4055-866E-6AD2A67511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16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92A7AC87-3410-4055-866E-6AD2A6751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A625AD-735D-47C0-91A1-2B3C21EAA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/>
              <a:t>Asset Allocation Model Approach (2/2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D96A21C-A84B-40F3-8495-34773DF73D11}"/>
              </a:ext>
            </a:extLst>
          </p:cNvPr>
          <p:cNvSpPr/>
          <p:nvPr/>
        </p:nvSpPr>
        <p:spPr>
          <a:xfrm>
            <a:off x="959790" y="651901"/>
            <a:ext cx="2670101" cy="77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865B671-84FB-4DD0-ADA8-0C497CD8CAF3}"/>
              </a:ext>
            </a:extLst>
          </p:cNvPr>
          <p:cNvSpPr/>
          <p:nvPr/>
        </p:nvSpPr>
        <p:spPr bwMode="auto">
          <a:xfrm>
            <a:off x="751936" y="2128511"/>
            <a:ext cx="2296344" cy="338554"/>
          </a:xfrm>
          <a:prstGeom prst="rect">
            <a:avLst/>
          </a:prstGeom>
          <a:solidFill>
            <a:srgbClr val="F0C940"/>
          </a:solidFill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0000"/>
                </a:solidFill>
              </a:rPr>
              <a:t>Objective Func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9ACED47-B4D1-4772-B0A6-D006A27803FF}"/>
              </a:ext>
            </a:extLst>
          </p:cNvPr>
          <p:cNvSpPr/>
          <p:nvPr/>
        </p:nvSpPr>
        <p:spPr>
          <a:xfrm>
            <a:off x="780691" y="4573244"/>
            <a:ext cx="7594600" cy="43504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CA" sz="1600">
                <a:solidFill>
                  <a:schemeClr val="tx1"/>
                </a:solidFill>
              </a:rPr>
              <a:t>Maximize Return = {0.2*S1 + 0.35*S2 + 0.15*S3+ 0.1*S4 + 0.2*S5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678D491-16E3-44C5-A45B-7E6C4171BB56}"/>
              </a:ext>
            </a:extLst>
          </p:cNvPr>
          <p:cNvSpPr/>
          <p:nvPr/>
        </p:nvSpPr>
        <p:spPr bwMode="auto">
          <a:xfrm>
            <a:off x="780691" y="5129443"/>
            <a:ext cx="2296344" cy="338554"/>
          </a:xfrm>
          <a:prstGeom prst="rect">
            <a:avLst/>
          </a:prstGeom>
          <a:solidFill>
            <a:srgbClr val="F0C940"/>
          </a:solidFill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0000"/>
                </a:solidFill>
              </a:rPr>
              <a:t>Constraint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021DF7A-8C3A-481A-98DE-40AAF7D41C81}"/>
              </a:ext>
            </a:extLst>
          </p:cNvPr>
          <p:cNvSpPr/>
          <p:nvPr/>
        </p:nvSpPr>
        <p:spPr>
          <a:xfrm>
            <a:off x="780691" y="5522058"/>
            <a:ext cx="9963150" cy="36024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600">
                <a:solidFill>
                  <a:schemeClr val="tx1"/>
                </a:solidFill>
              </a:rPr>
              <a:t>Sum of contributions should be equal to 1 - Proportion Constraint =&gt; LCE + MCE + BE + FI + BF = 1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1F557C8-2D81-49DB-ADFF-F17730E48F94}"/>
              </a:ext>
            </a:extLst>
          </p:cNvPr>
          <p:cNvSpPr/>
          <p:nvPr/>
        </p:nvSpPr>
        <p:spPr>
          <a:xfrm>
            <a:off x="780691" y="5979112"/>
            <a:ext cx="9963150" cy="59015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CA" sz="1600">
                <a:solidFill>
                  <a:schemeClr val="tx1"/>
                </a:solidFill>
              </a:rPr>
              <a:t>Every scenario should give minimum returns as per customer's risk profile – in our model we are evaluating three types of customer profiles (-2%, 1% and 5% returns for each type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9534F8C-E282-47DB-826E-414201B7523C}"/>
              </a:ext>
            </a:extLst>
          </p:cNvPr>
          <p:cNvSpPr/>
          <p:nvPr/>
        </p:nvSpPr>
        <p:spPr>
          <a:xfrm>
            <a:off x="780691" y="2554158"/>
            <a:ext cx="9905641" cy="191719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>
              <a:spcAft>
                <a:spcPts val="600"/>
              </a:spcAft>
            </a:pPr>
            <a:r>
              <a:rPr lang="en-CA" sz="1600">
                <a:solidFill>
                  <a:schemeClr val="tx1"/>
                </a:solidFill>
              </a:rPr>
              <a:t>Returns from each scenario is a product of yearly returns from the fund type:</a:t>
            </a:r>
          </a:p>
          <a:p>
            <a:pPr fontAlgn="b">
              <a:spcAft>
                <a:spcPts val="600"/>
              </a:spcAft>
            </a:pPr>
            <a:r>
              <a:rPr lang="en-IN" sz="1600" b="1">
                <a:solidFill>
                  <a:srgbClr val="000000"/>
                </a:solidFill>
                <a:latin typeface="Calibri"/>
                <a:cs typeface="Calibri"/>
              </a:rPr>
              <a:t>S1 </a:t>
            </a:r>
            <a:r>
              <a:rPr lang="en-IN" sz="1600">
                <a:solidFill>
                  <a:srgbClr val="000000"/>
                </a:solidFill>
                <a:latin typeface="Calibri"/>
                <a:cs typeface="Calibri"/>
              </a:rPr>
              <a:t>= 18.90 * LCE + 31.67 * MCE + 35.20 * BE + 7.62 * FI + 13.16 * BF</a:t>
            </a:r>
            <a:endParaRPr lang="en-CA" sz="2400">
              <a:latin typeface="Calibri"/>
              <a:cs typeface="Calibri"/>
            </a:endParaRPr>
          </a:p>
          <a:p>
            <a:pPr>
              <a:spcAft>
                <a:spcPts val="600"/>
              </a:spcAft>
            </a:pPr>
            <a:r>
              <a:rPr lang="en-IN" sz="1600" b="1">
                <a:solidFill>
                  <a:srgbClr val="000000"/>
                </a:solidFill>
                <a:latin typeface="Calibri"/>
                <a:cs typeface="Calibri"/>
              </a:rPr>
              <a:t>S2</a:t>
            </a:r>
            <a:r>
              <a:rPr lang="en-IN" sz="1600">
                <a:solidFill>
                  <a:srgbClr val="000000"/>
                </a:solidFill>
                <a:latin typeface="Calibri"/>
                <a:cs typeface="Calibri"/>
              </a:rPr>
              <a:t> = 38.2 * LCE + 25.2 * MCE + 21.9 * BE + 12.6 * FI + 8.54 * BF</a:t>
            </a:r>
          </a:p>
          <a:p>
            <a:pPr>
              <a:spcAft>
                <a:spcPts val="600"/>
              </a:spcAft>
            </a:pPr>
            <a:r>
              <a:rPr lang="en-IN" sz="1600" b="1">
                <a:solidFill>
                  <a:srgbClr val="000000"/>
                </a:solidFill>
                <a:latin typeface="Calibri"/>
                <a:cs typeface="Calibri"/>
              </a:rPr>
              <a:t>S3</a:t>
            </a:r>
            <a:r>
              <a:rPr lang="en-IN" sz="1600">
                <a:solidFill>
                  <a:srgbClr val="000000"/>
                </a:solidFill>
                <a:latin typeface="Calibri"/>
                <a:cs typeface="Calibri"/>
              </a:rPr>
              <a:t> = -14.62 * LCE + 30.1 * MCE + 30.8 * BE + 4.8 * FI + 2.46 * BF</a:t>
            </a:r>
          </a:p>
          <a:p>
            <a:pPr>
              <a:spcAft>
                <a:spcPts val="600"/>
              </a:spcAft>
            </a:pPr>
            <a:r>
              <a:rPr lang="en-IN" sz="1600" b="1">
                <a:solidFill>
                  <a:srgbClr val="000000"/>
                </a:solidFill>
                <a:latin typeface="Calibri"/>
                <a:cs typeface="Calibri"/>
              </a:rPr>
              <a:t>S4</a:t>
            </a:r>
            <a:r>
              <a:rPr lang="en-IN" sz="1600">
                <a:solidFill>
                  <a:srgbClr val="000000"/>
                </a:solidFill>
                <a:latin typeface="Calibri"/>
                <a:cs typeface="Calibri"/>
              </a:rPr>
              <a:t> = 24.85 * LCE + 14.7 * MCE + 6.6 * BE + 3.12 * FI + 9.9 * BF</a:t>
            </a:r>
          </a:p>
          <a:p>
            <a:pPr>
              <a:spcAft>
                <a:spcPts val="600"/>
              </a:spcAft>
            </a:pPr>
            <a:r>
              <a:rPr lang="en-IN" sz="1600" b="1">
                <a:solidFill>
                  <a:srgbClr val="000000"/>
                </a:solidFill>
                <a:latin typeface="Calibri"/>
                <a:cs typeface="Calibri"/>
              </a:rPr>
              <a:t>S5</a:t>
            </a:r>
            <a:r>
              <a:rPr lang="en-IN" sz="1600">
                <a:solidFill>
                  <a:srgbClr val="000000"/>
                </a:solidFill>
                <a:latin typeface="Calibri"/>
                <a:cs typeface="Calibri"/>
              </a:rPr>
              <a:t> = -0.98 * LCE + 4.81 * MCE - 8.12 * BE + 9.18 * FI – 3.49 * BF</a:t>
            </a:r>
            <a:endParaRPr lang="en-IN"/>
          </a:p>
          <a:p>
            <a:endParaRPr lang="en-CA" sz="160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FAD8920-934A-4090-99E4-86A17AF315F7}"/>
              </a:ext>
            </a:extLst>
          </p:cNvPr>
          <p:cNvSpPr/>
          <p:nvPr/>
        </p:nvSpPr>
        <p:spPr bwMode="auto">
          <a:xfrm>
            <a:off x="737559" y="1207042"/>
            <a:ext cx="2296344" cy="338554"/>
          </a:xfrm>
          <a:prstGeom prst="rect">
            <a:avLst/>
          </a:prstGeom>
          <a:solidFill>
            <a:srgbClr val="F0C940"/>
          </a:solidFill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0000"/>
                </a:solidFill>
              </a:rPr>
              <a:t>Decision Variables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9AB8BD6-565A-4BF3-BDE5-8C21B1CDFEED}"/>
              </a:ext>
            </a:extLst>
          </p:cNvPr>
          <p:cNvSpPr/>
          <p:nvPr/>
        </p:nvSpPr>
        <p:spPr>
          <a:xfrm>
            <a:off x="737560" y="1640046"/>
            <a:ext cx="9991904" cy="3567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CA" sz="1600">
                <a:solidFill>
                  <a:schemeClr val="tx1"/>
                </a:solidFill>
              </a:rPr>
              <a:t>Proportion to invest for each type of mutual fund LCE, MCE, BE, FI, BF</a:t>
            </a:r>
            <a:endParaRPr lang="en-CA" sz="1600">
              <a:solidFill>
                <a:schemeClr val="tx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22887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EA452E8-EDEA-4C27-B203-CDA1133120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EA452E8-EDEA-4C27-B203-CDA1133120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lowchart: Manual Operation 6">
            <a:extLst>
              <a:ext uri="{FF2B5EF4-FFF2-40B4-BE49-F238E27FC236}">
                <a16:creationId xmlns:a16="http://schemas.microsoft.com/office/drawing/2014/main" id="{1F18C05F-199A-4C12-A908-689CE9F375F7}"/>
              </a:ext>
            </a:extLst>
          </p:cNvPr>
          <p:cNvSpPr/>
          <p:nvPr/>
        </p:nvSpPr>
        <p:spPr>
          <a:xfrm rot="16200000">
            <a:off x="3494390" y="3893900"/>
            <a:ext cx="5244216" cy="335401"/>
          </a:xfrm>
          <a:prstGeom prst="flowChartManualOperation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7B54DA1-D418-4079-BE44-9B92EF8A6D52}"/>
              </a:ext>
            </a:extLst>
          </p:cNvPr>
          <p:cNvSpPr/>
          <p:nvPr/>
        </p:nvSpPr>
        <p:spPr>
          <a:xfrm>
            <a:off x="427927" y="1439500"/>
            <a:ext cx="5495454" cy="5244214"/>
          </a:xfrm>
          <a:prstGeom prst="rect">
            <a:avLst/>
          </a:prstGeom>
          <a:noFill/>
          <a:ln w="19050">
            <a:solidFill>
              <a:srgbClr val="B72F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A540CE-49AA-43CF-B90D-38FC5BAB1C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/>
              <a:t>LP model for what to invest in and where to invest!</a:t>
            </a:r>
          </a:p>
        </p:txBody>
      </p:sp>
      <p:graphicFrame>
        <p:nvGraphicFramePr>
          <p:cNvPr id="4" name="Table 2">
            <a:extLst>
              <a:ext uri="{FF2B5EF4-FFF2-40B4-BE49-F238E27FC236}">
                <a16:creationId xmlns:a16="http://schemas.microsoft.com/office/drawing/2014/main" id="{0D772831-94D6-4AD2-854D-098C8E21FD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123185"/>
              </p:ext>
            </p:extLst>
          </p:nvPr>
        </p:nvGraphicFramePr>
        <p:xfrm>
          <a:off x="6328372" y="2763752"/>
          <a:ext cx="5499352" cy="2595880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1374838">
                  <a:extLst>
                    <a:ext uri="{9D8B030D-6E8A-4147-A177-3AD203B41FA5}">
                      <a16:colId xmlns:a16="http://schemas.microsoft.com/office/drawing/2014/main" val="3062137065"/>
                    </a:ext>
                  </a:extLst>
                </a:gridCol>
                <a:gridCol w="1374838">
                  <a:extLst>
                    <a:ext uri="{9D8B030D-6E8A-4147-A177-3AD203B41FA5}">
                      <a16:colId xmlns:a16="http://schemas.microsoft.com/office/drawing/2014/main" val="2143192266"/>
                    </a:ext>
                  </a:extLst>
                </a:gridCol>
                <a:gridCol w="1374838">
                  <a:extLst>
                    <a:ext uri="{9D8B030D-6E8A-4147-A177-3AD203B41FA5}">
                      <a16:colId xmlns:a16="http://schemas.microsoft.com/office/drawing/2014/main" val="1695383401"/>
                    </a:ext>
                  </a:extLst>
                </a:gridCol>
                <a:gridCol w="1374838">
                  <a:extLst>
                    <a:ext uri="{9D8B030D-6E8A-4147-A177-3AD203B41FA5}">
                      <a16:colId xmlns:a16="http://schemas.microsoft.com/office/drawing/2014/main" val="34383019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600" b="1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cenario</a:t>
                      </a:r>
                    </a:p>
                  </a:txBody>
                  <a:tcPr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-2% Return</a:t>
                      </a:r>
                    </a:p>
                  </a:txBody>
                  <a:tcPr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% Return</a:t>
                      </a:r>
                    </a:p>
                  </a:txBody>
                  <a:tcPr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5% Return</a:t>
                      </a:r>
                    </a:p>
                  </a:txBody>
                  <a:tcPr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2482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400" b="1"/>
                        <a:t>S1 (20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.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u="none" strike="noStrike">
                          <a:effectLst/>
                        </a:rPr>
                        <a:t>13.4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9654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400" b="1"/>
                        <a:t>S2 (35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.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.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u="none" strike="noStrike">
                          <a:effectLst/>
                        </a:rPr>
                        <a:t>18.3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81902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400" b="1"/>
                        <a:t>S3 (15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2.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u="none" strike="noStrike">
                          <a:effectLst/>
                        </a:rPr>
                        <a:t>.0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07924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400" b="1"/>
                        <a:t>S4 (20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.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u="none" strike="noStrike">
                          <a:effectLst/>
                        </a:rPr>
                        <a:t>7.4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9930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400" b="1"/>
                        <a:t>S5 (10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2.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u="none" strike="noStrike">
                          <a:effectLst/>
                        </a:rPr>
                        <a:t>5.0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52915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400" b="1"/>
                        <a:t>Expected % RO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.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1"/>
                        <a:t>17.3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1"/>
                        <a:t>12.5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714719"/>
                  </a:ext>
                </a:extLst>
              </a:tr>
            </a:tbl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B897CEBE-899F-4DCC-BF18-84BFB0487E40}"/>
              </a:ext>
            </a:extLst>
          </p:cNvPr>
          <p:cNvSpPr/>
          <p:nvPr/>
        </p:nvSpPr>
        <p:spPr>
          <a:xfrm>
            <a:off x="959790" y="651901"/>
            <a:ext cx="2670101" cy="77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AEB9B8C-6098-4BE1-BC2B-0D0871B16B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45414" y="1578824"/>
            <a:ext cx="659681" cy="65968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5CCBDF-6935-4A41-96CE-6F01C69D4F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56723" y="1560505"/>
            <a:ext cx="678000" cy="6780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696C4D8-E177-4872-A2D6-C05F0D20FE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67596" y="1560505"/>
            <a:ext cx="659681" cy="659681"/>
          </a:xfrm>
          <a:prstGeom prst="rect">
            <a:avLst/>
          </a:prstGeom>
        </p:spPr>
      </p:pic>
      <p:pic>
        <p:nvPicPr>
          <p:cNvPr id="14" name="图片 14" descr="图片包含 日程表&#10;&#10;已自动生成说明">
            <a:extLst>
              <a:ext uri="{FF2B5EF4-FFF2-40B4-BE49-F238E27FC236}">
                <a16:creationId xmlns:a16="http://schemas.microsoft.com/office/drawing/2014/main" id="{3EB659C3-BAFA-4EC4-ADCE-4D9A59EC931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3080" y="1435643"/>
            <a:ext cx="5388633" cy="5251919"/>
          </a:xfrm>
          <a:prstGeom prst="rect">
            <a:avLst/>
          </a:prstGeom>
        </p:spPr>
      </p:pic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0734696D-36F7-4570-9490-AA529D38E3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537328"/>
              </p:ext>
            </p:extLst>
          </p:nvPr>
        </p:nvGraphicFramePr>
        <p:xfrm>
          <a:off x="6297083" y="2719916"/>
          <a:ext cx="5549900" cy="26508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7475">
                  <a:extLst>
                    <a:ext uri="{9D8B030D-6E8A-4147-A177-3AD203B41FA5}">
                      <a16:colId xmlns:a16="http://schemas.microsoft.com/office/drawing/2014/main" val="3811353736"/>
                    </a:ext>
                  </a:extLst>
                </a:gridCol>
                <a:gridCol w="1387475">
                  <a:extLst>
                    <a:ext uri="{9D8B030D-6E8A-4147-A177-3AD203B41FA5}">
                      <a16:colId xmlns:a16="http://schemas.microsoft.com/office/drawing/2014/main" val="1655875501"/>
                    </a:ext>
                  </a:extLst>
                </a:gridCol>
                <a:gridCol w="1387475">
                  <a:extLst>
                    <a:ext uri="{9D8B030D-6E8A-4147-A177-3AD203B41FA5}">
                      <a16:colId xmlns:a16="http://schemas.microsoft.com/office/drawing/2014/main" val="1538098683"/>
                    </a:ext>
                  </a:extLst>
                </a:gridCol>
                <a:gridCol w="1387475">
                  <a:extLst>
                    <a:ext uri="{9D8B030D-6E8A-4147-A177-3AD203B41FA5}">
                      <a16:colId xmlns:a16="http://schemas.microsoft.com/office/drawing/2014/main" val="2249625586"/>
                    </a:ext>
                  </a:extLst>
                </a:gridCol>
              </a:tblGrid>
              <a:tr h="371765">
                <a:tc>
                  <a:txBody>
                    <a:bodyPr/>
                    <a:lstStyle/>
                    <a:p>
                      <a:pPr algn="ctr" fontAlgn="base"/>
                      <a:r>
                        <a:rPr lang="af-ZA" sz="1600" err="1">
                          <a:effectLst/>
                        </a:rPr>
                        <a:t>Portfolio</a:t>
                      </a:r>
                      <a:endParaRPr lang="af-ZA" sz="1200" err="1">
                        <a:effectLst/>
                      </a:endParaRPr>
                    </a:p>
                  </a:txBody>
                  <a:tcPr marL="9525" marR="9525" marT="9525" marB="9525" anchor="ctr"/>
                </a:tc>
                <a:tc gridSpan="3">
                  <a:txBody>
                    <a:bodyPr/>
                    <a:lstStyle/>
                    <a:p>
                      <a:pPr algn="ctr" fontAlgn="base"/>
                      <a:r>
                        <a:rPr lang="af-ZA" sz="1600" err="1">
                          <a:effectLst/>
                        </a:rPr>
                        <a:t>Weight</a:t>
                      </a:r>
                      <a:r>
                        <a:rPr lang="af-ZA" sz="1600">
                          <a:effectLst/>
                        </a:rPr>
                        <a:t> / </a:t>
                      </a:r>
                      <a:r>
                        <a:rPr lang="af-ZA" sz="1600" err="1">
                          <a:effectLst/>
                        </a:rPr>
                        <a:t>Allocation</a:t>
                      </a:r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4090746612"/>
                  </a:ext>
                </a:extLst>
              </a:tr>
              <a:tr h="371765">
                <a:tc>
                  <a:txBody>
                    <a:bodyPr/>
                    <a:lstStyle/>
                    <a:p>
                      <a:pPr algn="ctr" fontAlgn="base"/>
                      <a:r>
                        <a:rPr lang="af-ZA" sz="1400">
                          <a:effectLst/>
                        </a:rPr>
                        <a:t>LCE</a:t>
                      </a:r>
                      <a:endParaRPr lang="af-ZA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>
                          <a:effectLst/>
                        </a:rPr>
                        <a:t>68.0%</a:t>
                      </a:r>
                      <a:endParaRPr lang="en-US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>
                          <a:effectLst/>
                        </a:rPr>
                        <a:t>46.3%</a:t>
                      </a:r>
                      <a:endParaRPr lang="en-IN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>
                          <a:effectLst/>
                        </a:rPr>
                        <a:t>17.5%</a:t>
                      </a:r>
                      <a:endParaRPr lang="en-IN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757541700"/>
                  </a:ext>
                </a:extLst>
              </a:tr>
              <a:tr h="387929">
                <a:tc>
                  <a:txBody>
                    <a:bodyPr/>
                    <a:lstStyle/>
                    <a:p>
                      <a:pPr algn="ctr" fontAlgn="base"/>
                      <a:r>
                        <a:rPr lang="af-ZA" sz="1400">
                          <a:effectLst/>
                        </a:rPr>
                        <a:t>MCE</a:t>
                      </a:r>
                      <a:endParaRPr lang="af-ZA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>
                          <a:effectLst/>
                        </a:rPr>
                        <a:t>0</a:t>
                      </a:r>
                      <a:endParaRPr lang="en-IN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>
                          <a:effectLst/>
                        </a:rPr>
                        <a:t>0</a:t>
                      </a:r>
                      <a:endParaRPr lang="en-IN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>
                          <a:effectLst/>
                        </a:rPr>
                        <a:t>0</a:t>
                      </a:r>
                      <a:endParaRPr lang="en-IN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3518140353"/>
                  </a:ext>
                </a:extLst>
              </a:tr>
              <a:tr h="371765">
                <a:tc>
                  <a:txBody>
                    <a:bodyPr/>
                    <a:lstStyle/>
                    <a:p>
                      <a:pPr algn="ctr" fontAlgn="base"/>
                      <a:r>
                        <a:rPr lang="af-ZA" sz="1400">
                          <a:effectLst/>
                        </a:rPr>
                        <a:t>BE</a:t>
                      </a:r>
                      <a:endParaRPr lang="af-ZA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>
                          <a:effectLst/>
                        </a:rPr>
                        <a:t>24.6%</a:t>
                      </a:r>
                      <a:endParaRPr lang="en-IN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>
                          <a:effectLst/>
                        </a:rPr>
                        <a:t>20.0%</a:t>
                      </a:r>
                      <a:endParaRPr lang="en-IN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>
                          <a:effectLst/>
                        </a:rPr>
                        <a:t>13.8%</a:t>
                      </a:r>
                      <a:endParaRPr lang="en-IN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389881469"/>
                  </a:ext>
                </a:extLst>
              </a:tr>
              <a:tr h="387929">
                <a:tc>
                  <a:txBody>
                    <a:bodyPr/>
                    <a:lstStyle/>
                    <a:p>
                      <a:pPr algn="ctr" fontAlgn="base"/>
                      <a:r>
                        <a:rPr lang="af-ZA" sz="1400">
                          <a:effectLst/>
                        </a:rPr>
                        <a:t>FI</a:t>
                      </a:r>
                      <a:endParaRPr lang="af-ZA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>
                          <a:effectLst/>
                        </a:rPr>
                        <a:t>7.2%</a:t>
                      </a:r>
                      <a:endParaRPr lang="en-US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>
                          <a:effectLst/>
                        </a:rPr>
                        <a:t>33.5%</a:t>
                      </a:r>
                      <a:endParaRPr lang="en-IN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>
                          <a:effectLst/>
                        </a:rPr>
                        <a:t>68.6%</a:t>
                      </a:r>
                      <a:endParaRPr lang="en-IN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2864640540"/>
                  </a:ext>
                </a:extLst>
              </a:tr>
              <a:tr h="371765">
                <a:tc>
                  <a:txBody>
                    <a:bodyPr/>
                    <a:lstStyle/>
                    <a:p>
                      <a:pPr algn="ctr" fontAlgn="base"/>
                      <a:r>
                        <a:rPr lang="af-ZA" sz="1400">
                          <a:effectLst/>
                        </a:rPr>
                        <a:t>BF</a:t>
                      </a:r>
                      <a:endParaRPr lang="af-ZA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>
                          <a:effectLst/>
                        </a:rPr>
                        <a:t>0</a:t>
                      </a:r>
                      <a:endParaRPr lang="en-IN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>
                          <a:effectLst/>
                        </a:rPr>
                        <a:t>0</a:t>
                      </a:r>
                      <a:endParaRPr lang="en-IN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>
                          <a:effectLst/>
                        </a:rPr>
                        <a:t>0</a:t>
                      </a:r>
                      <a:endParaRPr lang="en-IN" sz="1400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876947538"/>
                  </a:ext>
                </a:extLst>
              </a:tr>
              <a:tr h="387929">
                <a:tc>
                  <a:txBody>
                    <a:bodyPr/>
                    <a:lstStyle/>
                    <a:p>
                      <a:pPr algn="ctr" fontAlgn="base"/>
                      <a:r>
                        <a:rPr lang="af-ZA" sz="1400" b="1" err="1">
                          <a:effectLst/>
                        </a:rPr>
                        <a:t>Expected</a:t>
                      </a:r>
                      <a:r>
                        <a:rPr lang="af-ZA" sz="1400" b="1">
                          <a:effectLst/>
                        </a:rPr>
                        <a:t> ROI (%)​</a:t>
                      </a:r>
                      <a:endParaRPr lang="af-ZA" sz="1400" b="1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>
                          <a:effectLst/>
                        </a:rPr>
                        <a:t>18.9</a:t>
                      </a:r>
                      <a:endParaRPr lang="en-IN" sz="1400" b="1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>
                          <a:effectLst/>
                        </a:rPr>
                        <a:t>15.9 ​</a:t>
                      </a:r>
                      <a:endParaRPr lang="en-US" sz="1400" b="1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altLang="zh-CN" sz="1400" b="1">
                          <a:effectLst/>
                        </a:rPr>
                        <a:t>11.5</a:t>
                      </a:r>
                      <a:endParaRPr lang="zh-CN" altLang="en-US" sz="1400" b="1">
                        <a:effectLst/>
                        <a:latin typeface="Calibri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2474709833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E2A0B6F1-E5AC-4AFA-9E5F-7D8381FCE6F9}"/>
              </a:ext>
            </a:extLst>
          </p:cNvPr>
          <p:cNvSpPr/>
          <p:nvPr/>
        </p:nvSpPr>
        <p:spPr bwMode="auto">
          <a:xfrm>
            <a:off x="7817809" y="2318292"/>
            <a:ext cx="1132177" cy="338554"/>
          </a:xfrm>
          <a:prstGeom prst="rect">
            <a:avLst/>
          </a:prstGeom>
          <a:solidFill>
            <a:srgbClr val="F0C94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rgbClr val="000000"/>
                </a:solidFill>
              </a:rPr>
              <a:t>-2% Return</a:t>
            </a:r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ED1517-10DF-42E9-929F-8D868B7EF59C}"/>
              </a:ext>
            </a:extLst>
          </p:cNvPr>
          <p:cNvSpPr/>
          <p:nvPr/>
        </p:nvSpPr>
        <p:spPr bwMode="auto">
          <a:xfrm>
            <a:off x="9225392" y="2318291"/>
            <a:ext cx="1132177" cy="338554"/>
          </a:xfrm>
          <a:prstGeom prst="rect">
            <a:avLst/>
          </a:prstGeom>
          <a:solidFill>
            <a:srgbClr val="F0C94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rgbClr val="000000"/>
                </a:solidFill>
              </a:rPr>
              <a:t>-1% Return</a:t>
            </a: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FD22EF-0083-4A00-B4B7-C95733F32793}"/>
              </a:ext>
            </a:extLst>
          </p:cNvPr>
          <p:cNvSpPr/>
          <p:nvPr/>
        </p:nvSpPr>
        <p:spPr bwMode="auto">
          <a:xfrm>
            <a:off x="10632975" y="2318290"/>
            <a:ext cx="1132177" cy="338554"/>
          </a:xfrm>
          <a:prstGeom prst="rect">
            <a:avLst/>
          </a:prstGeom>
          <a:solidFill>
            <a:srgbClr val="F0C940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rgbClr val="000000"/>
                </a:solidFill>
              </a:rPr>
              <a:t>5% Retur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6735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271C8A-D999-4B86-AA1B-6DE5692E55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771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271C8A-D999-4B86-AA1B-6DE5692E5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ounded Rectangle 11">
            <a:extLst>
              <a:ext uri="{FF2B5EF4-FFF2-40B4-BE49-F238E27FC236}">
                <a16:creationId xmlns:a16="http://schemas.microsoft.com/office/drawing/2014/main" id="{7A5A94AB-D102-4A9B-A39E-BA482A8B69CD}"/>
              </a:ext>
            </a:extLst>
          </p:cNvPr>
          <p:cNvSpPr/>
          <p:nvPr/>
        </p:nvSpPr>
        <p:spPr>
          <a:xfrm>
            <a:off x="3001449" y="5823214"/>
            <a:ext cx="5441682" cy="735199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39" name="Rounded Rectangle 11">
            <a:extLst>
              <a:ext uri="{FF2B5EF4-FFF2-40B4-BE49-F238E27FC236}">
                <a16:creationId xmlns:a16="http://schemas.microsoft.com/office/drawing/2014/main" id="{D35A2584-2D6A-48B0-B019-B04403052E99}"/>
              </a:ext>
            </a:extLst>
          </p:cNvPr>
          <p:cNvSpPr/>
          <p:nvPr/>
        </p:nvSpPr>
        <p:spPr>
          <a:xfrm>
            <a:off x="3001449" y="4608029"/>
            <a:ext cx="5441682" cy="735199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37" name="Rounded Rectangle 11">
            <a:extLst>
              <a:ext uri="{FF2B5EF4-FFF2-40B4-BE49-F238E27FC236}">
                <a16:creationId xmlns:a16="http://schemas.microsoft.com/office/drawing/2014/main" id="{35EEC8C5-522A-40F3-AEC4-5A6E26692B21}"/>
              </a:ext>
            </a:extLst>
          </p:cNvPr>
          <p:cNvSpPr/>
          <p:nvPr/>
        </p:nvSpPr>
        <p:spPr>
          <a:xfrm>
            <a:off x="3001449" y="3370181"/>
            <a:ext cx="5441682" cy="735199"/>
          </a:xfrm>
          <a:prstGeom prst="roundRect">
            <a:avLst/>
          </a:prstGeom>
          <a:solidFill>
            <a:srgbClr val="E5F1FA"/>
          </a:solidFill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903832-EF79-4F63-A465-B4772C586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/>
              <a:t>Benefits of analytics-based solution in the investment market 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06543D4-D8F5-4E2D-8F62-B39A17DA0A13}"/>
              </a:ext>
            </a:extLst>
          </p:cNvPr>
          <p:cNvSpPr/>
          <p:nvPr/>
        </p:nvSpPr>
        <p:spPr>
          <a:xfrm>
            <a:off x="959790" y="651901"/>
            <a:ext cx="2670101" cy="77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C145E3-D307-2048-BD6D-A7838018AB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99114" y="3274833"/>
            <a:ext cx="848458" cy="8484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6DF3EDF-9211-B24E-AFB3-9866B67E573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57583" y="4612747"/>
            <a:ext cx="731520" cy="73152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65ECED02-1929-4E21-8D17-94EBAE342E5C}"/>
              </a:ext>
            </a:extLst>
          </p:cNvPr>
          <p:cNvSpPr/>
          <p:nvPr/>
        </p:nvSpPr>
        <p:spPr>
          <a:xfrm>
            <a:off x="3008767" y="3364915"/>
            <a:ext cx="5434364" cy="73152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en-US" sz="1400" b="1">
                <a:solidFill>
                  <a:srgbClr val="000000"/>
                </a:solidFill>
              </a:rPr>
              <a:t>New product innov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1B3BA6D-5B5C-C748-9499-4F085AA9392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65707" y="5833722"/>
            <a:ext cx="723396" cy="723396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1E230791-09DA-4E4B-B70F-97E6C7EFC9CF}"/>
              </a:ext>
            </a:extLst>
          </p:cNvPr>
          <p:cNvSpPr/>
          <p:nvPr/>
        </p:nvSpPr>
        <p:spPr>
          <a:xfrm>
            <a:off x="3008767" y="4604933"/>
            <a:ext cx="6616444" cy="7315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en-US" sz="1400" b="1">
                <a:solidFill>
                  <a:srgbClr val="000000"/>
                </a:solidFill>
              </a:rPr>
              <a:t>Personalization of the investment per customer profil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C493008-001E-428A-BA17-13DED8D413B5}"/>
              </a:ext>
            </a:extLst>
          </p:cNvPr>
          <p:cNvSpPr/>
          <p:nvPr/>
        </p:nvSpPr>
        <p:spPr>
          <a:xfrm>
            <a:off x="3008767" y="5833722"/>
            <a:ext cx="5434364" cy="7315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en-US" sz="1400" b="1">
                <a:solidFill>
                  <a:srgbClr val="000000"/>
                </a:solidFill>
              </a:rPr>
              <a:t>Susceptibility to accommodate changes in the financial market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A76B8A7-F8A3-4E82-AE45-EF177F4100C1}"/>
              </a:ext>
            </a:extLst>
          </p:cNvPr>
          <p:cNvSpPr/>
          <p:nvPr/>
        </p:nvSpPr>
        <p:spPr>
          <a:xfrm>
            <a:off x="3001450" y="1477219"/>
            <a:ext cx="5485212" cy="323611"/>
          </a:xfrm>
          <a:prstGeom prst="rect">
            <a:avLst/>
          </a:prstGeom>
          <a:solidFill>
            <a:srgbClr val="F6D9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600" b="1">
                <a:solidFill>
                  <a:srgbClr val="000000"/>
                </a:solidFill>
              </a:rPr>
              <a:t>Potential Futu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BFD7636-C2C0-4EB6-87AA-E118319528CB}"/>
              </a:ext>
            </a:extLst>
          </p:cNvPr>
          <p:cNvSpPr/>
          <p:nvPr/>
        </p:nvSpPr>
        <p:spPr>
          <a:xfrm>
            <a:off x="637914" y="1905241"/>
            <a:ext cx="1493216" cy="457854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Curren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1B295F5-A547-49AE-834D-00FE967C5D33}"/>
              </a:ext>
            </a:extLst>
          </p:cNvPr>
          <p:cNvSpPr/>
          <p:nvPr/>
        </p:nvSpPr>
        <p:spPr>
          <a:xfrm>
            <a:off x="3001450" y="1908437"/>
            <a:ext cx="2473426" cy="457854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Basic Scenario Based Mode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DF5A4CA-15D9-403E-ABFC-C2C6DCBB669A}"/>
              </a:ext>
            </a:extLst>
          </p:cNvPr>
          <p:cNvSpPr/>
          <p:nvPr/>
        </p:nvSpPr>
        <p:spPr>
          <a:xfrm>
            <a:off x="637915" y="2408974"/>
            <a:ext cx="1493216" cy="424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200">
                <a:solidFill>
                  <a:srgbClr val="000000"/>
                </a:solidFill>
              </a:rPr>
              <a:t>Manual &amp; Experienced Based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92B6685-D100-45E9-8DCB-A89EA8B6C7D2}"/>
              </a:ext>
            </a:extLst>
          </p:cNvPr>
          <p:cNvSpPr/>
          <p:nvPr/>
        </p:nvSpPr>
        <p:spPr>
          <a:xfrm>
            <a:off x="3008766" y="2408974"/>
            <a:ext cx="2466109" cy="424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200">
                <a:solidFill>
                  <a:srgbClr val="000000"/>
                </a:solidFill>
              </a:rPr>
              <a:t>Linear programming bas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BB17A94-7DE6-4E9A-A824-B40E128D82C6}"/>
              </a:ext>
            </a:extLst>
          </p:cNvPr>
          <p:cNvSpPr/>
          <p:nvPr/>
        </p:nvSpPr>
        <p:spPr>
          <a:xfrm>
            <a:off x="5977022" y="1908437"/>
            <a:ext cx="2473426" cy="457854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Robust &amp; Effective Model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C61A84F-BD4B-4204-A254-C8EC0FD1286B}"/>
              </a:ext>
            </a:extLst>
          </p:cNvPr>
          <p:cNvSpPr/>
          <p:nvPr/>
        </p:nvSpPr>
        <p:spPr>
          <a:xfrm>
            <a:off x="5977022" y="2408974"/>
            <a:ext cx="2466109" cy="424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200">
                <a:solidFill>
                  <a:srgbClr val="000000"/>
                </a:solidFill>
              </a:rPr>
              <a:t>Simulation based linear programming</a:t>
            </a:r>
          </a:p>
        </p:txBody>
      </p:sp>
      <p:sp>
        <p:nvSpPr>
          <p:cNvPr id="36" name="Chevron 16">
            <a:extLst>
              <a:ext uri="{FF2B5EF4-FFF2-40B4-BE49-F238E27FC236}">
                <a16:creationId xmlns:a16="http://schemas.microsoft.com/office/drawing/2014/main" id="{1B78E562-4629-4E1D-B1EF-FFC855042569}"/>
              </a:ext>
            </a:extLst>
          </p:cNvPr>
          <p:cNvSpPr/>
          <p:nvPr/>
        </p:nvSpPr>
        <p:spPr>
          <a:xfrm rot="5400000">
            <a:off x="5527645" y="325026"/>
            <a:ext cx="389290" cy="5441681"/>
          </a:xfrm>
          <a:prstGeom prst="chevron">
            <a:avLst/>
          </a:prstGeom>
          <a:solidFill>
            <a:srgbClr val="80A8AE"/>
          </a:solidFill>
          <a:ln w="12700" cap="rnd" cmpd="sng" algn="ctr">
            <a:noFill/>
            <a:prstDash val="solid"/>
          </a:ln>
          <a:effectLst/>
        </p:spPr>
        <p:txBody>
          <a:bodyPr lIns="46012" tIns="46012" rIns="46012" bIns="46012" rtlCol="0" anchor="ctr"/>
          <a:lstStyle/>
          <a:p>
            <a:pPr algn="ctr">
              <a:defRPr/>
            </a:pPr>
            <a:endParaRPr lang="en-US" sz="1534" kern="0">
              <a:solidFill>
                <a:srgbClr val="000000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3682208-930E-46A0-84F5-5A82809440ED}"/>
              </a:ext>
            </a:extLst>
          </p:cNvPr>
          <p:cNvSpPr/>
          <p:nvPr/>
        </p:nvSpPr>
        <p:spPr>
          <a:xfrm>
            <a:off x="8828864" y="1908437"/>
            <a:ext cx="2884918" cy="457854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Assumptions</a:t>
            </a:r>
          </a:p>
        </p:txBody>
      </p:sp>
      <p:sp>
        <p:nvSpPr>
          <p:cNvPr id="45" name="Rounded Rectangle 11">
            <a:extLst>
              <a:ext uri="{FF2B5EF4-FFF2-40B4-BE49-F238E27FC236}">
                <a16:creationId xmlns:a16="http://schemas.microsoft.com/office/drawing/2014/main" id="{548AEF80-F547-4A49-AC5C-1DD0CDAB80F6}"/>
              </a:ext>
            </a:extLst>
          </p:cNvPr>
          <p:cNvSpPr/>
          <p:nvPr/>
        </p:nvSpPr>
        <p:spPr>
          <a:xfrm>
            <a:off x="8828864" y="3347154"/>
            <a:ext cx="2884918" cy="312591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400"/>
              </a:spcAft>
            </a:pPr>
            <a:r>
              <a:rPr lang="en-US" sz="1300">
                <a:solidFill>
                  <a:schemeClr val="tx1"/>
                </a:solidFill>
              </a:rPr>
              <a:t>`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33D577E-4BB3-4FB9-91AC-F46F237B4188}"/>
              </a:ext>
            </a:extLst>
          </p:cNvPr>
          <p:cNvSpPr/>
          <p:nvPr/>
        </p:nvSpPr>
        <p:spPr>
          <a:xfrm>
            <a:off x="8923508" y="3643256"/>
            <a:ext cx="2790274" cy="246221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cs typeface="Calibri"/>
              </a:rPr>
              <a:t>Yearly returns are approximations based on data derived from Fidelity.ca</a:t>
            </a:r>
            <a:br>
              <a:rPr lang="en-US" sz="1400">
                <a:cs typeface="Calibri"/>
              </a:rPr>
            </a:br>
            <a:endParaRPr lang="en-US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cs typeface="Calibri"/>
              </a:rPr>
              <a:t>Years are independent and discrete</a:t>
            </a:r>
            <a:br>
              <a:rPr lang="en-US" sz="1400">
                <a:cs typeface="Calibri"/>
              </a:rPr>
            </a:br>
            <a:endParaRPr lang="en-US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cs typeface="Calibri"/>
              </a:rPr>
              <a:t>The probabilities used are assumptions by the portfolio managers about the next 12 months</a:t>
            </a:r>
            <a:endParaRPr lang="en-CA" sz="1400"/>
          </a:p>
        </p:txBody>
      </p:sp>
    </p:spTree>
    <p:extLst>
      <p:ext uri="{BB962C8B-B14F-4D97-AF65-F5344CB8AC3E}">
        <p14:creationId xmlns:p14="http://schemas.microsoft.com/office/powerpoint/2010/main" val="22511324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A626A2-A494-46FE-94EE-6BD0575CD1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307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A626A2-A494-46FE-94EE-6BD0575C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553EF5-FADB-40AC-A25F-84440F226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Limitations in the current devised model</a:t>
            </a:r>
            <a:endParaRPr lang="en-C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D2DC93F-73D9-4FA9-85CF-6ADABE49743F}"/>
              </a:ext>
            </a:extLst>
          </p:cNvPr>
          <p:cNvSpPr/>
          <p:nvPr/>
        </p:nvSpPr>
        <p:spPr>
          <a:xfrm>
            <a:off x="959790" y="651901"/>
            <a:ext cx="2670101" cy="77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A85EE4-DBB7-490F-8E8C-A956F71B8E80}"/>
              </a:ext>
            </a:extLst>
          </p:cNvPr>
          <p:cNvSpPr/>
          <p:nvPr/>
        </p:nvSpPr>
        <p:spPr>
          <a:xfrm>
            <a:off x="2425700" y="1855575"/>
            <a:ext cx="8293100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/>
              <a:t>Investment companies cannot provide guarantee on returns, as this is a highly experience-driven industr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8B35585-1D48-4213-B53A-C72176F457F2}"/>
              </a:ext>
            </a:extLst>
          </p:cNvPr>
          <p:cNvSpPr/>
          <p:nvPr/>
        </p:nvSpPr>
        <p:spPr>
          <a:xfrm>
            <a:off x="2425700" y="3217037"/>
            <a:ext cx="8293100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/>
              <a:t>The industry is vast, and it is very difficult to consolidate and synthesize data manuall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57A144B-4626-4A5C-9919-6FCF444D4D0C}"/>
              </a:ext>
            </a:extLst>
          </p:cNvPr>
          <p:cNvSpPr/>
          <p:nvPr/>
        </p:nvSpPr>
        <p:spPr>
          <a:xfrm>
            <a:off x="2425700" y="4470455"/>
            <a:ext cx="7175500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/>
              <a:t>It does not account for the yearly infl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B6EA6C-BF15-BE44-A4E1-B8719AA87C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6846" y="1769113"/>
            <a:ext cx="782926" cy="782926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255385AF-681D-4EFC-BC30-24E994C7CB5F}"/>
              </a:ext>
            </a:extLst>
          </p:cNvPr>
          <p:cNvSpPr/>
          <p:nvPr/>
        </p:nvSpPr>
        <p:spPr>
          <a:xfrm>
            <a:off x="2425700" y="5478187"/>
            <a:ext cx="8293100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/>
              <a:t>The model does not incorporate the simulation model that helps us find the distribution of the retur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B4748D-17D4-2B4A-9B02-A2CE3AC91A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1534" y="4283300"/>
            <a:ext cx="743642" cy="74364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23292D0-CBA2-8F43-9E27-0FE7FACBF5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1378" y="3057178"/>
            <a:ext cx="743643" cy="7436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21587E4-8465-A04D-8CB9-1FAF2F4C306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2503" y="5194480"/>
            <a:ext cx="901394" cy="901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6996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88FFEDB2941A48933DCFF90CA5EE1C" ma:contentTypeVersion="8" ma:contentTypeDescription="Create a new document." ma:contentTypeScope="" ma:versionID="1a04e67b69103ba1df3f571a8b3a431d">
  <xsd:schema xmlns:xsd="http://www.w3.org/2001/XMLSchema" xmlns:xs="http://www.w3.org/2001/XMLSchema" xmlns:p="http://schemas.microsoft.com/office/2006/metadata/properties" xmlns:ns2="09803ce8-9128-4270-995c-8cecfd4d6746" xmlns:ns3="84cfad3d-6306-4cf8-8754-484738a6fbfe" targetNamespace="http://schemas.microsoft.com/office/2006/metadata/properties" ma:root="true" ma:fieldsID="de0542e69d3fc1c5d57ecd05ea13f068" ns2:_="" ns3:_="">
    <xsd:import namespace="09803ce8-9128-4270-995c-8cecfd4d6746"/>
    <xsd:import namespace="84cfad3d-6306-4cf8-8754-484738a6fb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803ce8-9128-4270-995c-8cecfd4d67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cfad3d-6306-4cf8-8754-484738a6fbf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B1B9785-2C54-41FD-B6FC-03697110A444}">
  <ds:schemaRefs>
    <ds:schemaRef ds:uri="09803ce8-9128-4270-995c-8cecfd4d6746"/>
    <ds:schemaRef ds:uri="84cfad3d-6306-4cf8-8754-484738a6fbf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BAA5EC6-3A9A-4479-854F-8CBC0861195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DBB4926-A10F-4E0B-AD6C-ADF68F2BBA7B}">
  <ds:schemaRefs>
    <ds:schemaRef ds:uri="09803ce8-9128-4270-995c-8cecfd4d6746"/>
    <ds:schemaRef ds:uri="84cfad3d-6306-4cf8-8754-484738a6fbf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10</Slides>
  <Notes>5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Office Theme</vt:lpstr>
      <vt:lpstr>Alfred Investment Company</vt:lpstr>
      <vt:lpstr>Context</vt:lpstr>
      <vt:lpstr>A paradigm shift in investment portfolio management</vt:lpstr>
      <vt:lpstr>Our typical customer’s profile and need</vt:lpstr>
      <vt:lpstr>Asset Allocation Model Approach (1/2)</vt:lpstr>
      <vt:lpstr>Asset Allocation Model Approach (2/2)</vt:lpstr>
      <vt:lpstr>LP model for what to invest in and where to invest!</vt:lpstr>
      <vt:lpstr>Benefits of analytics-based solution in the investment market </vt:lpstr>
      <vt:lpstr>Limitations in the current devised model</vt:lpstr>
      <vt:lpstr>Way forwar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pala Goyal</dc:creator>
  <cp:revision>1</cp:revision>
  <dcterms:created xsi:type="dcterms:W3CDTF">2021-07-23T04:03:35Z</dcterms:created>
  <dcterms:modified xsi:type="dcterms:W3CDTF">2021-08-02T02:1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88FFEDB2941A48933DCFF90CA5EE1C</vt:lpwstr>
  </property>
</Properties>
</file>